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60" r:id="rId1"/>
  </p:sldMasterIdLst>
  <p:notesMasterIdLst>
    <p:notesMasterId r:id="rId16"/>
  </p:notesMasterIdLst>
  <p:handoutMasterIdLst>
    <p:handoutMasterId r:id="rId17"/>
  </p:handoutMasterIdLst>
  <p:sldIdLst>
    <p:sldId id="256" r:id="rId2"/>
    <p:sldId id="257" r:id="rId3"/>
    <p:sldId id="267" r:id="rId4"/>
    <p:sldId id="262" r:id="rId5"/>
    <p:sldId id="266" r:id="rId6"/>
    <p:sldId id="263" r:id="rId7"/>
    <p:sldId id="269" r:id="rId8"/>
    <p:sldId id="264" r:id="rId9"/>
    <p:sldId id="260" r:id="rId10"/>
    <p:sldId id="265" r:id="rId11"/>
    <p:sldId id="258" r:id="rId12"/>
    <p:sldId id="259" r:id="rId13"/>
    <p:sldId id="261" r:id="rId14"/>
    <p:sldId id="268" r:id="rId15"/>
  </p:sldIdLst>
  <p:sldSz cx="9144000" cy="5715000" type="screen16x10"/>
  <p:notesSz cx="6858000" cy="91440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7">
          <p15:clr>
            <a:srgbClr val="A4A3A4"/>
          </p15:clr>
        </p15:guide>
        <p15:guide id="2" orient="horz" pos="3070">
          <p15:clr>
            <a:srgbClr val="A4A3A4"/>
          </p15:clr>
        </p15:guide>
        <p15:guide id="3" pos="295">
          <p15:clr>
            <a:srgbClr val="A4A3A4"/>
          </p15:clr>
        </p15:guide>
        <p15:guide id="4" pos="546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clrMru>
    <a:srgbClr val="BB16A3"/>
    <a:srgbClr val="EF3340"/>
    <a:srgbClr val="FFCD00"/>
    <a:srgbClr val="005EB8"/>
    <a:srgbClr val="FFCDB8"/>
    <a:srgbClr val="FFCF06"/>
    <a:srgbClr val="F8C704"/>
    <a:srgbClr val="EFC002"/>
    <a:srgbClr val="00A8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Objects="1">
      <p:cViewPr varScale="1">
        <p:scale>
          <a:sx n="105" d="100"/>
          <a:sy n="105" d="100"/>
        </p:scale>
        <p:origin x="106" y="62"/>
      </p:cViewPr>
      <p:guideLst>
        <p:guide orient="horz" pos="167"/>
        <p:guide orient="horz" pos="3070"/>
        <p:guide pos="295"/>
        <p:guide pos="546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84" d="100"/>
        <a:sy n="184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939D04D9-2D90-E741-8C77-A958108973E5}" type="datetimeFigureOut">
              <a:rPr lang="en-US"/>
              <a:pPr>
                <a:defRPr/>
              </a:pPr>
              <a:t>5/3/2018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381337A6-C487-9645-B543-6BBD05A1D19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2453935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1FE7B0BA-8FA8-3A4A-9820-CF1299A8B616}" type="datetime1">
              <a:rPr lang="fi-FI"/>
              <a:pPr>
                <a:defRPr/>
              </a:pPr>
              <a:t>3.5.2018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i-FI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noProof="0" smtClean="0"/>
              <a:t>Click to edit Master text styles</a:t>
            </a:r>
          </a:p>
          <a:p>
            <a:pPr lvl="1"/>
            <a:r>
              <a:rPr lang="fi-FI" noProof="0" smtClean="0"/>
              <a:t>Second level</a:t>
            </a:r>
          </a:p>
          <a:p>
            <a:pPr lvl="2"/>
            <a:r>
              <a:rPr lang="fi-FI" noProof="0" smtClean="0"/>
              <a:t>Third level</a:t>
            </a:r>
          </a:p>
          <a:p>
            <a:pPr lvl="3"/>
            <a:r>
              <a:rPr lang="fi-FI" noProof="0" smtClean="0"/>
              <a:t>Fourth level</a:t>
            </a:r>
          </a:p>
          <a:p>
            <a:pPr lvl="4"/>
            <a:r>
              <a:rPr lang="fi-FI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D66A5FF2-0573-2649-A39A-26FA52E05379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9729138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739775"/>
            <a:ext cx="5919787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66A5FF2-0573-2649-A39A-26FA52E05379}" type="slidenum">
              <a:rPr lang="fi-FI" smtClean="0"/>
              <a:pPr>
                <a:defRPr/>
              </a:pPr>
              <a:t>9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32897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3" y="1417341"/>
            <a:ext cx="8207375" cy="2952327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9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290"/>
            <a:ext cx="1809750" cy="160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1065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3" y="1417636"/>
            <a:ext cx="8207375" cy="2952032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5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290"/>
            <a:ext cx="1809750" cy="160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227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2" y="1418400"/>
            <a:ext cx="8208000" cy="2952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388448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809750" cy="160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2770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3" y="1657740"/>
            <a:ext cx="3319477" cy="269408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000" b="1" spc="-2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3" y="4531740"/>
            <a:ext cx="3319477" cy="486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50000"/>
            <a:ext cx="4629692" cy="54150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 smtClean="0"/>
              <a:t>Click icon to add picture</a:t>
            </a:r>
            <a:endParaRPr lang="fi-FI" noProof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809750" cy="160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0459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3" y="1593555"/>
            <a:ext cx="8207375" cy="219666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7" name="Straight Connector 4"/>
          <p:cNvCxnSpPr/>
          <p:nvPr userDrawn="1"/>
        </p:nvCxnSpPr>
        <p:spPr>
          <a:xfrm>
            <a:off x="468313" y="4873625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227145" cy="9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875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13" y="265113"/>
            <a:ext cx="8207375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600" b="1" spc="-1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261611"/>
            <a:ext cx="8207374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 dirty="0"/>
          </a:p>
        </p:txBody>
      </p:sp>
      <p:sp>
        <p:nvSpPr>
          <p:cNvPr id="6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CBB682-87B2-4236-AF78-B49807E7713E}" type="datetime1">
              <a:rPr lang="fi-FI" smtClean="0"/>
              <a:t>3.5.2018</a:t>
            </a:fld>
            <a:endParaRPr lang="fi-FI"/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EFD4B7-1CC6-864B-A72A-C978B70BBA9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2" name="Straight Connector 4"/>
          <p:cNvCxnSpPr/>
          <p:nvPr userDrawn="1"/>
        </p:nvCxnSpPr>
        <p:spPr>
          <a:xfrm>
            <a:off x="468313" y="4873007"/>
            <a:ext cx="820737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227147" cy="9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7082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3308" y="265113"/>
            <a:ext cx="8212380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600" b="1" spc="-1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3308" y="1261611"/>
            <a:ext cx="3988079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 dirty="0"/>
          </a:p>
        </p:txBody>
      </p:sp>
      <p:sp>
        <p:nvSpPr>
          <p:cNvPr id="40" name="Content Placeholder 10"/>
          <p:cNvSpPr>
            <a:spLocks noGrp="1"/>
          </p:cNvSpPr>
          <p:nvPr>
            <p:ph sz="quarter" idx="18"/>
          </p:nvPr>
        </p:nvSpPr>
        <p:spPr>
          <a:xfrm>
            <a:off x="4687609" y="1261611"/>
            <a:ext cx="3988079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6F12C3-4421-43A0-8844-8188FCFDF52F}" type="datetime1">
              <a:rPr lang="fi-FI" smtClean="0"/>
              <a:t>3.5.2018</a:t>
            </a:fld>
            <a:endParaRPr lang="fi-FI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9A8AE-7274-0C4A-AB42-92022833E6E2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3" y="4873007"/>
            <a:ext cx="820737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227147" cy="9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0820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14" y="265113"/>
            <a:ext cx="8207375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rgbClr val="0065BD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4"/>
          </p:nvPr>
        </p:nvSpPr>
        <p:spPr>
          <a:xfrm>
            <a:off x="468315" y="1273324"/>
            <a:ext cx="8207374" cy="332437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40" indent="-191160">
              <a:buFont typeface="Arial"/>
              <a:buChar char="•"/>
              <a:defRPr sz="1800">
                <a:latin typeface="Georgia"/>
              </a:defRPr>
            </a:lvl2pPr>
            <a:lvl3pPr marL="414720" indent="-207360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800" indent="-174960">
              <a:buFont typeface="Arial"/>
              <a:buChar char="•"/>
              <a:defRPr sz="1260" baseline="0">
                <a:latin typeface="Georgia"/>
              </a:defRPr>
            </a:lvl4pPr>
            <a:lvl5pPr marL="978480" indent="-205740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 dirty="0"/>
          </a:p>
        </p:txBody>
      </p:sp>
      <p:sp>
        <p:nvSpPr>
          <p:cNvPr id="6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CBB682-87B2-4236-AF78-B49807E7713E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.5.2018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EFD4B7-1CC6-864B-A72A-C978B70BBA9B}" type="slidenum">
              <a:rPr lang="fi-FI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fi-FI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2" name="Straight Connector 4"/>
          <p:cNvCxnSpPr/>
          <p:nvPr userDrawn="1"/>
        </p:nvCxnSpPr>
        <p:spPr>
          <a:xfrm>
            <a:off x="468314" y="4873007"/>
            <a:ext cx="8207375" cy="0"/>
          </a:xfrm>
          <a:prstGeom prst="line">
            <a:avLst/>
          </a:prstGeom>
          <a:ln w="12700" cmpd="sng">
            <a:solidFill>
              <a:srgbClr val="005E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000" y="4712401"/>
            <a:ext cx="2113788" cy="96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9806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056956" y="5017740"/>
            <a:ext cx="3619500" cy="132292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5056956" y="5150032"/>
            <a:ext cx="3619500" cy="154782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D520173-7D7F-4FBC-A781-33E654CAA422}" type="datetime1">
              <a:rPr lang="fi-FI" smtClean="0"/>
              <a:t>3.5.2018</a:t>
            </a:fld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5056956" y="5304814"/>
            <a:ext cx="3619500" cy="134938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05BCDE0-955E-2A43-932A-046BF80DB99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47" r:id="rId1"/>
    <p:sldLayoutId id="2147484751" r:id="rId2"/>
    <p:sldLayoutId id="2147484753" r:id="rId3"/>
    <p:sldLayoutId id="2147484756" r:id="rId4"/>
    <p:sldLayoutId id="2147484759" r:id="rId5"/>
    <p:sldLayoutId id="2147484762" r:id="rId6"/>
    <p:sldLayoutId id="2147484765" r:id="rId7"/>
    <p:sldLayoutId id="2147484766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MS PGothic" pitchFamily="34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34" Type="http://schemas.openxmlformats.org/officeDocument/2006/relationships/oleObject" Target="../embeddings/oleObject3.bin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image" Target="../media/image14.emf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image" Target="../media/image12.emf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slideLayout" Target="../slideLayouts/slideLayout6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oleObject" Target="../embeddings/oleObject2.bin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image" Target="../media/image11.emf"/><Relationship Id="rId35" Type="http://schemas.openxmlformats.org/officeDocument/2006/relationships/image" Target="../media/image13.emf"/><Relationship Id="rId8" Type="http://schemas.openxmlformats.org/officeDocument/2006/relationships/tags" Target="../tags/tag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KPI’s in education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Jussi Välimäki</a:t>
            </a:r>
          </a:p>
          <a:p>
            <a:r>
              <a:rPr lang="en-US" dirty="0" smtClean="0"/>
              <a:t>Head of Finance, School of Business, Aalto University</a:t>
            </a:r>
          </a:p>
          <a:p>
            <a:r>
              <a:rPr lang="en-US" dirty="0" smtClean="0"/>
              <a:t>4.5.2018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463600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24CBB682-87B2-4236-AF78-B49807E7713E}" type="datetime1">
              <a:rPr lang="fi-FI" smtClean="0"/>
              <a:t>3.5.2018</a:t>
            </a:fld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10</a:t>
            </a:fld>
            <a:endParaRPr lang="fi-FI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7870" t="14300" r="21256" b="5900"/>
          <a:stretch/>
        </p:blipFill>
        <p:spPr>
          <a:xfrm>
            <a:off x="0" y="0"/>
            <a:ext cx="9023684" cy="571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068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i-FI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25" name="Object 24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1257301" y="1333500"/>
          <a:ext cx="1379235" cy="33679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Chart" r:id="rId31" imgW="1379235" imgH="3367952" progId="MSGraph.Chart.8">
                  <p:embed followColorScheme="full"/>
                </p:oleObj>
              </mc:Choice>
              <mc:Fallback>
                <p:oleObj name="Chart" r:id="rId31" imgW="1379235" imgH="3367952" progId="MSGraph.Chart.8">
                  <p:embed followColorScheme="full"/>
                  <p:pic>
                    <p:nvPicPr>
                      <p:cNvPr id="25" name="Object 24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257301" y="1333500"/>
                        <a:ext cx="1379235" cy="33679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/>
          <p:cNvSpPr/>
          <p:nvPr>
            <p:custDataLst>
              <p:tags r:id="rId5"/>
            </p:custDataLst>
          </p:nvPr>
        </p:nvSpPr>
        <p:spPr bwMode="gray">
          <a:xfrm>
            <a:off x="1673225" y="3263900"/>
            <a:ext cx="209550" cy="152400"/>
          </a:xfrm>
          <a:prstGeom prst="rect">
            <a:avLst/>
          </a:prstGeom>
          <a:solidFill>
            <a:srgbClr val="364D6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/>
            <a:fld id="{E545DFD2-D8FA-4337-AE89-66D42E5FF1BC}" type="datetime'''''''''0''''''.''''''''''''''''''''''''5'''''''''''''''">
              <a:rPr lang="fi-FI" altLang="en-US" sz="1000">
                <a:solidFill>
                  <a:schemeClr val="bg1"/>
                </a:solidFill>
                <a:sym typeface="+mn-lt"/>
              </a:rPr>
              <a:pPr algn="ctr"/>
              <a:t>0.5</a:t>
            </a:fld>
            <a:endParaRPr lang="fi-FI" sz="1000">
              <a:solidFill>
                <a:schemeClr val="bg1"/>
              </a:solidFill>
              <a:sym typeface="+mn-lt"/>
            </a:endParaRPr>
          </a:p>
        </p:txBody>
      </p:sp>
      <p:sp>
        <p:nvSpPr>
          <p:cNvPr id="53" name="Rectangle 52"/>
          <p:cNvSpPr/>
          <p:nvPr>
            <p:custDataLst>
              <p:tags r:id="rId6"/>
            </p:custDataLst>
          </p:nvPr>
        </p:nvSpPr>
        <p:spPr bwMode="gray">
          <a:xfrm>
            <a:off x="1673225" y="2776538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/>
            <a:fld id="{A7325F5A-C142-4EF4-AE44-644D2382A826}" type="datetime'''''''''''''''''5''''''''''''''''''''.''''''''''''''6'''''">
              <a:rPr lang="fi-FI" altLang="en-US" sz="1000">
                <a:solidFill>
                  <a:schemeClr val="bg1"/>
                </a:solidFill>
              </a:rPr>
              <a:pPr/>
              <a:t>5.6</a:t>
            </a:fld>
            <a:endParaRPr lang="fi-FI" sz="1000">
              <a:solidFill>
                <a:schemeClr val="bg1"/>
              </a:solidFill>
              <a:sym typeface="+mn-lt"/>
            </a:endParaRPr>
          </a:p>
        </p:txBody>
      </p:sp>
      <p:sp>
        <p:nvSpPr>
          <p:cNvPr id="48" name="Rectangle 47"/>
          <p:cNvSpPr/>
          <p:nvPr>
            <p:custDataLst>
              <p:tags r:id="rId7"/>
            </p:custDataLst>
          </p:nvPr>
        </p:nvSpPr>
        <p:spPr bwMode="gray">
          <a:xfrm>
            <a:off x="1565275" y="4022725"/>
            <a:ext cx="209550" cy="152400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/>
            <a:fld id="{FD18EC6B-C7BA-4323-9007-760F8967AD1F}" type="datetime'''''''''''''''''''''''''''0.''''''''''''4'">
              <a:rPr lang="fi-FI" altLang="en-US" sz="1000">
                <a:solidFill>
                  <a:schemeClr val="tx1"/>
                </a:solidFill>
              </a:rPr>
              <a:pPr/>
              <a:t>0.4</a:t>
            </a:fld>
            <a:endParaRPr lang="fi-FI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49" name="Rectangle 48"/>
          <p:cNvSpPr/>
          <p:nvPr>
            <p:custDataLst>
              <p:tags r:id="rId8"/>
            </p:custDataLst>
          </p:nvPr>
        </p:nvSpPr>
        <p:spPr bwMode="gray">
          <a:xfrm>
            <a:off x="1782763" y="3968750"/>
            <a:ext cx="209550" cy="152400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/>
            <a:fld id="{53EB5770-6D73-4547-A9DC-B196E0DFEB41}" type="datetime'''''''''''0''''''''''''''''.''''''''''''''3'''">
              <a:rPr lang="fi-FI" altLang="en-US" sz="1000">
                <a:solidFill>
                  <a:schemeClr val="tx1"/>
                </a:solidFill>
              </a:rPr>
              <a:pPr/>
              <a:t>0.3</a:t>
            </a:fld>
            <a:endParaRPr lang="fi-FI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37" name="Rectangle 36"/>
          <p:cNvSpPr/>
          <p:nvPr>
            <p:custDataLst>
              <p:tags r:id="rId9"/>
            </p:custDataLst>
          </p:nvPr>
        </p:nvSpPr>
        <p:spPr bwMode="gray">
          <a:xfrm>
            <a:off x="1673225" y="21145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DB1CF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/>
            <a:fld id="{FB70CD51-E952-449A-815E-15FE468A56BE}" type="datetime'''''''1''''''''''''''''''''''''''''''.''''''''7'">
              <a:rPr lang="fi-FI" altLang="en-US" sz="1000">
                <a:solidFill>
                  <a:schemeClr val="tx1"/>
                </a:solidFill>
              </a:rPr>
              <a:pPr/>
              <a:t>1.7</a:t>
            </a:fld>
            <a:endParaRPr lang="fi-FI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36" name="Rectangle 35"/>
          <p:cNvSpPr/>
          <p:nvPr>
            <p:custDataLst>
              <p:tags r:id="rId10"/>
            </p:custDataLst>
          </p:nvPr>
        </p:nvSpPr>
        <p:spPr bwMode="gray">
          <a:xfrm>
            <a:off x="1673225" y="2289175"/>
            <a:ext cx="209550" cy="152400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/>
            <a:fld id="{A40B8692-B357-48A3-9C6C-FEAE082E468E}" type="datetime'''''''0''''''''''''''''''''''''''''.5'''''''''''''''''">
              <a:rPr lang="fi-FI" altLang="en-US" sz="1000">
                <a:solidFill>
                  <a:schemeClr val="bg1"/>
                </a:solidFill>
              </a:rPr>
              <a:pPr/>
              <a:t>0.5</a:t>
            </a:fld>
            <a:endParaRPr lang="fi-FI" sz="1000">
              <a:solidFill>
                <a:schemeClr val="bg1"/>
              </a:solidFill>
              <a:sym typeface="+mn-lt"/>
            </a:endParaRPr>
          </a:p>
        </p:txBody>
      </p:sp>
      <p:sp>
        <p:nvSpPr>
          <p:cNvPr id="46" name="Rectangle 45"/>
          <p:cNvSpPr/>
          <p:nvPr>
            <p:custDataLst>
              <p:tags r:id="rId11"/>
            </p:custDataLst>
          </p:nvPr>
        </p:nvSpPr>
        <p:spPr bwMode="gray">
          <a:xfrm>
            <a:off x="1673225" y="44307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/>
            <a:fld id="{E5433792-386C-41B4-BFA6-67CCF1A30E06}" type="datetime'''''''''''''''''''1''''.''''''''''''''''''''3'''''''">
              <a:rPr lang="fi-FI" altLang="en-US" sz="1000">
                <a:solidFill>
                  <a:schemeClr val="bg1"/>
                </a:solidFill>
              </a:rPr>
              <a:pPr/>
              <a:t>1.3</a:t>
            </a:fld>
            <a:endParaRPr lang="fi-FI" sz="1000">
              <a:solidFill>
                <a:schemeClr val="bg1"/>
              </a:solidFill>
              <a:sym typeface="+mn-lt"/>
            </a:endParaRPr>
          </a:p>
        </p:txBody>
      </p:sp>
      <p:sp>
        <p:nvSpPr>
          <p:cNvPr id="75" name="Rectangle 74"/>
          <p:cNvSpPr/>
          <p:nvPr>
            <p:custDataLst>
              <p:tags r:id="rId12"/>
            </p:custDataLst>
          </p:nvPr>
        </p:nvSpPr>
        <p:spPr bwMode="gray">
          <a:xfrm>
            <a:off x="1673225" y="418941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F8DB9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/>
            <a:fld id="{3462BFAB-8644-45A5-917E-D9AF17AAA870}" type="datetime'1''''''''''''''''''.''''7'''''''''''''''''''''">
              <a:rPr lang="fi-FI" altLang="en-US" sz="1000">
                <a:solidFill>
                  <a:schemeClr val="bg1"/>
                </a:solidFill>
              </a:rPr>
              <a:pPr/>
              <a:t>1.7</a:t>
            </a:fld>
            <a:endParaRPr lang="fi-FI" sz="1000">
              <a:solidFill>
                <a:schemeClr val="bg1"/>
              </a:solidFill>
              <a:sym typeface="+mn-lt"/>
            </a:endParaRPr>
          </a:p>
        </p:txBody>
      </p:sp>
      <p:sp>
        <p:nvSpPr>
          <p:cNvPr id="33" name="Rectangle 32"/>
          <p:cNvSpPr/>
          <p:nvPr>
            <p:custDataLst>
              <p:tags r:id="rId13"/>
            </p:custDataLst>
          </p:nvPr>
        </p:nvSpPr>
        <p:spPr bwMode="gray">
          <a:xfrm>
            <a:off x="1673225" y="185896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/>
            <a:fld id="{0529377A-6A47-40AE-B6FD-563E8AF88607}" type="datetime'''''1''''.''''''''''''''''''''''''''''''''''''5'''''">
              <a:rPr lang="fi-FI" altLang="en-US" sz="1000">
                <a:solidFill>
                  <a:schemeClr val="tx1"/>
                </a:solidFill>
              </a:rPr>
              <a:pPr/>
              <a:t>1.5</a:t>
            </a:fld>
            <a:endParaRPr lang="fi-FI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32" name="Rectangle 31"/>
          <p:cNvSpPr/>
          <p:nvPr>
            <p:custDataLst>
              <p:tags r:id="rId14"/>
            </p:custDataLst>
          </p:nvPr>
        </p:nvSpPr>
        <p:spPr bwMode="gray">
          <a:xfrm>
            <a:off x="1673225" y="1554163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/>
            <a:fld id="{EFD4EF82-D3C0-49E2-8D55-1C169FBA1E45}" type="datetime'''''''''''''''2''''''''''''''''''''.''''''''3'''''''''''">
              <a:rPr lang="fi-FI" altLang="en-US" sz="1000">
                <a:solidFill>
                  <a:schemeClr val="tx1"/>
                </a:solidFill>
              </a:rPr>
              <a:pPr/>
              <a:t>2.3</a:t>
            </a:fld>
            <a:endParaRPr lang="fi-FI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0" name="Rectangle 49"/>
          <p:cNvSpPr/>
          <p:nvPr>
            <p:custDataLst>
              <p:tags r:id="rId15"/>
            </p:custDataLst>
          </p:nvPr>
        </p:nvSpPr>
        <p:spPr bwMode="gray">
          <a:xfrm>
            <a:off x="1673225" y="3625850"/>
            <a:ext cx="209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FE5EF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/>
            <a:fld id="{8B40FCAD-5371-4559-BDAC-91158677466B}" type="datetime'''4''''''''.''''0'''">
              <a:rPr lang="fi-FI" altLang="en-US" sz="1000">
                <a:solidFill>
                  <a:schemeClr val="tx1"/>
                </a:solidFill>
              </a:rPr>
              <a:pPr/>
              <a:t>4.0</a:t>
            </a:fld>
            <a:endParaRPr lang="fi-FI" sz="1000">
              <a:solidFill>
                <a:schemeClr val="tx1"/>
              </a:solidFill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33"/>
          <a:srcRect r="69648"/>
          <a:stretch/>
        </p:blipFill>
        <p:spPr>
          <a:xfrm>
            <a:off x="2469506" y="1045938"/>
            <a:ext cx="2102494" cy="4232907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dirty="0" smtClean="0"/>
              <a:t>Aalto </a:t>
            </a:r>
            <a:r>
              <a:rPr lang="fi-FI" dirty="0" err="1" smtClean="0"/>
              <a:t>funding</a:t>
            </a:r>
            <a:r>
              <a:rPr lang="fi-FI" dirty="0" smtClean="0"/>
              <a:t> </a:t>
            </a:r>
            <a:r>
              <a:rPr lang="fi-FI" dirty="0" err="1" smtClean="0"/>
              <a:t>KPI’s</a:t>
            </a:r>
            <a:endParaRPr lang="fi-FI" dirty="0"/>
          </a:p>
        </p:txBody>
      </p:sp>
      <p:graphicFrame>
        <p:nvGraphicFramePr>
          <p:cNvPr id="6" name="Object 5"/>
          <p:cNvGraphicFramePr>
            <a:graphicFrameLocks/>
          </p:cNvGraphicFramePr>
          <p:nvPr>
            <p:custDataLst>
              <p:tags r:id="rId16"/>
            </p:custDataLst>
            <p:extLst/>
          </p:nvPr>
        </p:nvGraphicFramePr>
        <p:xfrm>
          <a:off x="342901" y="1066800"/>
          <a:ext cx="1379235" cy="37870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Chart" r:id="rId34" imgW="1379235" imgH="3787043" progId="MSGraph.Chart.8">
                  <p:embed followColorScheme="full"/>
                </p:oleObj>
              </mc:Choice>
              <mc:Fallback>
                <p:oleObj name="Chart" r:id="rId34" imgW="1379235" imgH="3787043" progId="MSGraph.Chart.8">
                  <p:embed followColorScheme="full"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342901" y="1066800"/>
                        <a:ext cx="1379235" cy="37870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Straight Connector 18"/>
          <p:cNvCxnSpPr/>
          <p:nvPr>
            <p:custDataLst>
              <p:tags r:id="rId17"/>
            </p:custDataLst>
          </p:nvPr>
        </p:nvCxnSpPr>
        <p:spPr bwMode="auto">
          <a:xfrm>
            <a:off x="571500" y="4322763"/>
            <a:ext cx="49213" cy="28575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>
            <p:custDataLst>
              <p:tags r:id="rId18"/>
            </p:custDataLst>
          </p:nvPr>
        </p:nvCxnSpPr>
        <p:spPr bwMode="auto">
          <a:xfrm>
            <a:off x="571500" y="4602163"/>
            <a:ext cx="49213" cy="109538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>
            <p:custDataLst>
              <p:tags r:id="rId19"/>
            </p:custDataLst>
          </p:nvPr>
        </p:nvSpPr>
        <p:spPr bwMode="auto">
          <a:xfrm>
            <a:off x="133350" y="1706563"/>
            <a:ext cx="4127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/>
            <a:fld id="{DEDF7D64-E334-47AA-B502-84CF429AFBB0}" type="datetime'Sl''o''''t''&#10;''''f''u''n''''di''n''''''''''''''''g'''">
              <a:rPr lang="fi-FI" altLang="en-US" sz="1000">
                <a:solidFill>
                  <a:schemeClr val="tx1"/>
                </a:solidFill>
              </a:rPr>
              <a:pPr/>
              <a:t>Slot
funding</a:t>
            </a:fld>
            <a:endParaRPr lang="fi-FI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16" name="Rectangle 15"/>
          <p:cNvSpPr/>
          <p:nvPr>
            <p:custDataLst>
              <p:tags r:id="rId20"/>
            </p:custDataLst>
          </p:nvPr>
        </p:nvSpPr>
        <p:spPr bwMode="gray">
          <a:xfrm>
            <a:off x="723900" y="3451225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/>
            <a:fld id="{713F449E-7870-4B05-8FCB-325F7F61DD04}" type="datetime'''2''''''''''''0''''''''''''''''''''''.0'">
              <a:rPr lang="fi-FI" altLang="en-US" sz="1000">
                <a:solidFill>
                  <a:schemeClr val="tx1"/>
                </a:solidFill>
              </a:rPr>
              <a:pPr/>
              <a:t>20.0</a:t>
            </a:fld>
            <a:endParaRPr lang="fi-FI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17" name="Rectangle 16"/>
          <p:cNvSpPr/>
          <p:nvPr>
            <p:custDataLst>
              <p:tags r:id="rId21"/>
            </p:custDataLst>
          </p:nvPr>
        </p:nvSpPr>
        <p:spPr bwMode="gray">
          <a:xfrm>
            <a:off x="723900" y="1782763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/>
            <a:fld id="{86D7A795-95FA-41BF-84C2-B9510A52A864}" type="datetime'''1''2''''''''''''''''''.''7'''''''''''''''''''''">
              <a:rPr lang="fi-FI" altLang="en-US" sz="1000">
                <a:solidFill>
                  <a:schemeClr val="tx1"/>
                </a:solidFill>
              </a:rPr>
              <a:pPr/>
              <a:t>12.7</a:t>
            </a:fld>
            <a:endParaRPr lang="fi-FI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5" name="Rectangle 14"/>
          <p:cNvSpPr/>
          <p:nvPr>
            <p:custDataLst>
              <p:tags r:id="rId22"/>
            </p:custDataLst>
          </p:nvPr>
        </p:nvSpPr>
        <p:spPr bwMode="gray">
          <a:xfrm>
            <a:off x="868363" y="4532313"/>
            <a:ext cx="209550" cy="152400"/>
          </a:xfrm>
          <a:prstGeom prst="rect">
            <a:avLst/>
          </a:prstGeom>
          <a:solidFill>
            <a:srgbClr val="9DB1C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/>
            <a:fld id="{C364C997-C6BD-41DF-AD15-33909EEF306E}" type="datetime'''''''''''''''''1''''''''''''.''''''''''''''''''''''2'''''''">
              <a:rPr lang="fi-FI" altLang="en-US" sz="1000">
                <a:solidFill>
                  <a:schemeClr val="tx1"/>
                </a:solidFill>
              </a:rPr>
              <a:pPr/>
              <a:t>1.2</a:t>
            </a:fld>
            <a:endParaRPr lang="fi-FI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14" name="Rectangle 13"/>
          <p:cNvSpPr/>
          <p:nvPr>
            <p:custDataLst>
              <p:tags r:id="rId23"/>
            </p:custDataLst>
          </p:nvPr>
        </p:nvSpPr>
        <p:spPr bwMode="gray">
          <a:xfrm>
            <a:off x="650875" y="4635500"/>
            <a:ext cx="209550" cy="152400"/>
          </a:xfrm>
          <a:prstGeom prst="rect">
            <a:avLst/>
          </a:prstGeom>
          <a:solidFill>
            <a:srgbClr val="6F8DB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/>
            <a:fld id="{429B3C64-EEDB-4036-9F01-C03EA27819B5}" type="datetime'''''0.''''''''''''''''''''''''''''''''''''8'''''''''''''''">
              <a:rPr lang="fi-FI" altLang="en-US" sz="1000">
                <a:solidFill>
                  <a:schemeClr val="bg1"/>
                </a:solidFill>
              </a:rPr>
              <a:pPr/>
              <a:t>0.8</a:t>
            </a:fld>
            <a:endParaRPr lang="fi-FI" sz="1000">
              <a:solidFill>
                <a:schemeClr val="bg1"/>
              </a:solidFill>
              <a:sym typeface="+mn-lt"/>
            </a:endParaRPr>
          </a:p>
        </p:txBody>
      </p:sp>
      <p:sp>
        <p:nvSpPr>
          <p:cNvPr id="12" name="Rectangle 11"/>
          <p:cNvSpPr/>
          <p:nvPr>
            <p:custDataLst>
              <p:tags r:id="rId24"/>
            </p:custDataLst>
          </p:nvPr>
        </p:nvSpPr>
        <p:spPr bwMode="auto">
          <a:xfrm>
            <a:off x="-84138" y="4525963"/>
            <a:ext cx="6302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/>
            <a:fld id="{528CE073-D159-4832-9205-422334C45260}" type="datetime'J''''''''S''I'' ''f''''''u''''''''n''''''''d''ing'''''''">
              <a:rPr lang="fi-FI" altLang="en-US" sz="1000">
                <a:solidFill>
                  <a:schemeClr val="tx1"/>
                </a:solidFill>
              </a:rPr>
              <a:pPr/>
              <a:t>JSI funding</a:t>
            </a:fld>
            <a:endParaRPr lang="fi-FI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11" name="Rectangle 10"/>
          <p:cNvSpPr/>
          <p:nvPr>
            <p:custDataLst>
              <p:tags r:id="rId25"/>
            </p:custDataLst>
          </p:nvPr>
        </p:nvSpPr>
        <p:spPr bwMode="auto">
          <a:xfrm>
            <a:off x="-100013" y="4170363"/>
            <a:ext cx="64611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/>
            <a:fld id="{E8241FDA-A870-49CF-B32E-4AEB393E37E2}" type="datetime'''''Ex''''ce''''ll''''''e''''nc''''e &#10;''fu''''''ndin''g'">
              <a:rPr lang="fi-FI" altLang="en-US" sz="1000">
                <a:solidFill>
                  <a:schemeClr val="tx1"/>
                </a:solidFill>
              </a:rPr>
              <a:pPr/>
              <a:t>Excellence 
funding</a:t>
            </a:fld>
            <a:endParaRPr lang="fi-FI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10" name="Rectangle 9"/>
          <p:cNvSpPr/>
          <p:nvPr>
            <p:custDataLst>
              <p:tags r:id="rId26"/>
            </p:custDataLst>
          </p:nvPr>
        </p:nvSpPr>
        <p:spPr bwMode="auto">
          <a:xfrm>
            <a:off x="-177800" y="3375025"/>
            <a:ext cx="7239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/>
            <a:fld id="{0D8BD19D-EC4F-48D4-8FED-1C51FCB00BD6}" type="datetime'''Per''''''''forma''n''c''e&#10; ''f''''un''''''d''''''''i''ng'''">
              <a:rPr lang="fi-FI" altLang="en-US" sz="1000">
                <a:solidFill>
                  <a:schemeClr val="tx1"/>
                </a:solidFill>
              </a:rPr>
              <a:pPr/>
              <a:t>Performance
 funding</a:t>
            </a:fld>
            <a:endParaRPr lang="fi-FI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13" name="Rectangle 12"/>
          <p:cNvSpPr/>
          <p:nvPr>
            <p:custDataLst>
              <p:tags r:id="rId27"/>
            </p:custDataLst>
          </p:nvPr>
        </p:nvSpPr>
        <p:spPr bwMode="gray">
          <a:xfrm>
            <a:off x="723900" y="1033463"/>
            <a:ext cx="2794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/>
          <a:lstStyle/>
          <a:p>
            <a:pPr algn="ctr"/>
            <a:fld id="{D31D6FE2-4307-4643-9633-690E24C20986}" type="datetime'''3''4''''''''''''''''''''''''''''''''''''''''''.''7'''''''''">
              <a:rPr lang="fi-FI" altLang="en-US" sz="1000">
                <a:solidFill>
                  <a:schemeClr val="tx1"/>
                </a:solidFill>
              </a:rPr>
              <a:pPr/>
              <a:t>34.7</a:t>
            </a:fld>
            <a:endParaRPr lang="fi-FI" sz="1000">
              <a:solidFill>
                <a:schemeClr val="tx1"/>
              </a:solidFill>
              <a:sym typeface="+mn-lt"/>
            </a:endParaRPr>
          </a:p>
        </p:txBody>
      </p:sp>
      <p:cxnSp>
        <p:nvCxnSpPr>
          <p:cNvPr id="82" name="Straight Connector 81"/>
          <p:cNvCxnSpPr/>
          <p:nvPr/>
        </p:nvCxnSpPr>
        <p:spPr>
          <a:xfrm flipV="1">
            <a:off x="1085899" y="1471161"/>
            <a:ext cx="475076" cy="104180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>
            <a:off x="1095558" y="4551502"/>
            <a:ext cx="425269" cy="50661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468313" y="841276"/>
            <a:ext cx="230348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000" b="1" u="sng" dirty="0" smtClean="0"/>
              <a:t>BIZ </a:t>
            </a:r>
            <a:r>
              <a:rPr lang="fi-FI" sz="1000" b="1" u="sng" dirty="0" err="1" smtClean="0"/>
              <a:t>basic</a:t>
            </a:r>
            <a:r>
              <a:rPr lang="fi-FI" sz="1000" b="1" u="sng" dirty="0" smtClean="0"/>
              <a:t> </a:t>
            </a:r>
            <a:r>
              <a:rPr lang="fi-FI" sz="1000" b="1" u="sng" dirty="0" err="1" smtClean="0"/>
              <a:t>funding</a:t>
            </a:r>
            <a:r>
              <a:rPr lang="fi-FI" sz="1000" b="1" u="sng" dirty="0" smtClean="0"/>
              <a:t> 2018, M€</a:t>
            </a:r>
            <a:endParaRPr lang="fi-FI" sz="1000" b="1" u="sng" dirty="0"/>
          </a:p>
        </p:txBody>
      </p:sp>
      <p:sp>
        <p:nvSpPr>
          <p:cNvPr id="70" name="Left Brace 69"/>
          <p:cNvSpPr/>
          <p:nvPr/>
        </p:nvSpPr>
        <p:spPr>
          <a:xfrm>
            <a:off x="2391845" y="4235450"/>
            <a:ext cx="46587" cy="1070322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cxnSp>
        <p:nvCxnSpPr>
          <p:cNvPr id="111" name="Straight Connector 110"/>
          <p:cNvCxnSpPr/>
          <p:nvPr/>
        </p:nvCxnSpPr>
        <p:spPr>
          <a:xfrm>
            <a:off x="1077913" y="4623391"/>
            <a:ext cx="1313932" cy="11368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3" name="TextBox 82"/>
          <p:cNvSpPr txBox="1"/>
          <p:nvPr/>
        </p:nvSpPr>
        <p:spPr>
          <a:xfrm>
            <a:off x="5508104" y="5481146"/>
            <a:ext cx="3600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200" b="1" dirty="0" smtClean="0"/>
              <a:t>* = 6k€ per 4/5 </a:t>
            </a:r>
            <a:r>
              <a:rPr lang="fi-FI" sz="1200" b="1" dirty="0" err="1" smtClean="0"/>
              <a:t>answer</a:t>
            </a:r>
            <a:endParaRPr lang="fi-FI" sz="1200" b="1" dirty="0"/>
          </a:p>
        </p:txBody>
      </p:sp>
      <p:cxnSp>
        <p:nvCxnSpPr>
          <p:cNvPr id="73" name="Straight Connector 72"/>
          <p:cNvCxnSpPr/>
          <p:nvPr/>
        </p:nvCxnSpPr>
        <p:spPr>
          <a:xfrm flipV="1">
            <a:off x="1966453" y="2803193"/>
            <a:ext cx="498681" cy="565945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1" name="Picture 40"/>
          <p:cNvPicPr>
            <a:picLocks noChangeAspect="1"/>
          </p:cNvPicPr>
          <p:nvPr/>
        </p:nvPicPr>
        <p:blipFill rotWithShape="1">
          <a:blip r:embed="rId33"/>
          <a:srcRect l="60097" r="23271"/>
          <a:stretch/>
        </p:blipFill>
        <p:spPr>
          <a:xfrm>
            <a:off x="4499992" y="1057300"/>
            <a:ext cx="1152128" cy="4232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290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Funding from a </a:t>
            </a:r>
            <a:r>
              <a:rPr lang="en-US" dirty="0" smtClean="0"/>
              <a:t>good student</a:t>
            </a:r>
            <a:br>
              <a:rPr lang="en-US" dirty="0" smtClean="0"/>
            </a:br>
            <a:endParaRPr lang="fi-FI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2555777" y="1152019"/>
            <a:ext cx="2914332" cy="2569577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24CBB682-87B2-4236-AF78-B49807E7713E}" type="datetime1">
              <a:rPr lang="fi-FI" smtClean="0"/>
              <a:t>3.5.2018</a:t>
            </a:fld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1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06698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 smtClean="0"/>
              <a:t>JuFo</a:t>
            </a:r>
            <a:r>
              <a:rPr lang="en-US" dirty="0" smtClean="0"/>
              <a:t> points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24CBB682-87B2-4236-AF78-B49807E7713E}" type="datetime1">
              <a:rPr lang="fi-FI" smtClean="0"/>
              <a:t>3.5.2018</a:t>
            </a:fld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13</a:t>
            </a:fld>
            <a:endParaRPr lang="fi-FI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sz="quarter" idx="14"/>
          </p:nvPr>
        </p:nvPicPr>
        <p:blipFill rotWithShape="1">
          <a:blip r:embed="rId2"/>
          <a:srcRect r="29716"/>
          <a:stretch/>
        </p:blipFill>
        <p:spPr>
          <a:xfrm>
            <a:off x="1642295" y="913284"/>
            <a:ext cx="5449985" cy="3899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8618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Ministry KPI’s evaluation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Degrees – self evident – but how about life-long lear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55cr – speed in </a:t>
            </a:r>
            <a:r>
              <a:rPr lang="en-US" dirty="0" err="1" smtClean="0"/>
              <a:t>craduation</a:t>
            </a:r>
            <a:r>
              <a:rPr lang="en-US" dirty="0" smtClean="0"/>
              <a:t> – more productive years – but why 55cr and how about concurrenc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Feedback –  easy mone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International exchange and foreign masters – is internationalization government prior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Funding booster – international is significa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err="1" smtClean="0"/>
              <a:t>JuFo</a:t>
            </a:r>
            <a:r>
              <a:rPr lang="en-US" dirty="0" smtClean="0"/>
              <a:t> is imperfect instrument for challenging problem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24CBB682-87B2-4236-AF78-B49807E7713E}" type="datetime1">
              <a:rPr lang="fi-FI" smtClean="0"/>
              <a:t>3.5.2018</a:t>
            </a:fld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1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73805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KPI’s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468314" y="1261611"/>
            <a:ext cx="2663526" cy="3336083"/>
          </a:xfrm>
        </p:spPr>
        <p:txBody>
          <a:bodyPr/>
          <a:lstStyle/>
          <a:p>
            <a:r>
              <a:rPr lang="en-US" sz="2800" dirty="0" smtClean="0"/>
              <a:t>Specific</a:t>
            </a:r>
          </a:p>
          <a:p>
            <a:r>
              <a:rPr lang="en-US" sz="2800" dirty="0" smtClean="0"/>
              <a:t>Measurable</a:t>
            </a:r>
          </a:p>
          <a:p>
            <a:r>
              <a:rPr lang="en-US" sz="2800" dirty="0" smtClean="0"/>
              <a:t>Achievable</a:t>
            </a:r>
          </a:p>
          <a:p>
            <a:r>
              <a:rPr lang="en-US" sz="2800" dirty="0" smtClean="0"/>
              <a:t>Relevant</a:t>
            </a:r>
          </a:p>
          <a:p>
            <a:r>
              <a:rPr lang="en-US" sz="2800" dirty="0" smtClean="0"/>
              <a:t>Timely</a:t>
            </a:r>
            <a:endParaRPr lang="fi-FI" sz="2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24CBB682-87B2-4236-AF78-B49807E7713E}" type="datetime1">
              <a:rPr lang="fi-FI" smtClean="0"/>
              <a:t>3.5.2018</a:t>
            </a:fld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2</a:t>
            </a:fld>
            <a:endParaRPr lang="fi-FI"/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3995936" y="1261611"/>
            <a:ext cx="3888432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100" b="1" kern="1200">
                <a:solidFill>
                  <a:schemeClr val="tx1"/>
                </a:solidFill>
                <a:latin typeface="+mj-lt"/>
                <a:ea typeface="ＭＳ Ｐゴシック" charset="0"/>
                <a:cs typeface="MS PGothic" pitchFamily="34" charset="-128"/>
              </a:defRPr>
            </a:lvl1pPr>
            <a:lvl2pPr marL="237600" indent="-2124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/>
              <a:buChar char="•"/>
              <a:defRPr sz="2000" kern="1200">
                <a:solidFill>
                  <a:schemeClr val="tx1"/>
                </a:solidFill>
                <a:latin typeface="Georgia"/>
                <a:ea typeface="MS PGothic" pitchFamily="34" charset="-128"/>
                <a:cs typeface="MS PGothic" charset="0"/>
              </a:defRPr>
            </a:lvl2pPr>
            <a:lvl3pPr marL="460800" indent="-2304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/>
              <a:buChar char="-"/>
              <a:defRPr sz="1600" i="1" kern="1200">
                <a:solidFill>
                  <a:schemeClr val="tx1"/>
                </a:solidFill>
                <a:latin typeface="Georgia"/>
                <a:ea typeface="ヒラギノ角ゴ Pro W3" charset="-128"/>
                <a:cs typeface="Georgia"/>
              </a:defRPr>
            </a:lvl3pPr>
            <a:lvl4pPr marL="792000" indent="-1944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/>
              <a:buChar char="•"/>
              <a:defRPr sz="1400" kern="1200" baseline="0">
                <a:solidFill>
                  <a:schemeClr val="tx1"/>
                </a:solidFill>
                <a:latin typeface="Georgia"/>
                <a:ea typeface="ヒラギノ角ゴ Pro W3" charset="-128"/>
                <a:cs typeface="ヒラギノ角ゴ Pro W3" charset="0"/>
              </a:defRPr>
            </a:lvl4pPr>
            <a:lvl5pPr marL="1087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Courier New"/>
              <a:buChar char="o"/>
              <a:defRPr sz="1300" kern="1200" baseline="0">
                <a:solidFill>
                  <a:schemeClr val="tx1"/>
                </a:solidFill>
                <a:latin typeface="+mn-lt"/>
                <a:ea typeface="ＭＳ Ｐゴシック" charset="0"/>
                <a:cs typeface="MS PGothic" pitchFamily="34" charset="-128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 smtClean="0"/>
              <a:t>You get what you measure</a:t>
            </a:r>
          </a:p>
          <a:p>
            <a:endParaRPr lang="en-US" sz="2800" dirty="0"/>
          </a:p>
          <a:p>
            <a:r>
              <a:rPr lang="en-US" sz="2800" dirty="0" smtClean="0"/>
              <a:t>People are not altruistic or rational</a:t>
            </a:r>
          </a:p>
          <a:p>
            <a:endParaRPr lang="en-US" sz="2800" dirty="0"/>
          </a:p>
          <a:p>
            <a:r>
              <a:rPr lang="en-US" sz="2800" dirty="0" smtClean="0"/>
              <a:t>Pavlov’s dogs</a:t>
            </a:r>
            <a:endParaRPr lang="fi-FI" sz="2800" dirty="0"/>
          </a:p>
        </p:txBody>
      </p:sp>
    </p:spTree>
    <p:extLst>
      <p:ext uri="{BB962C8B-B14F-4D97-AF65-F5344CB8AC3E}">
        <p14:creationId xmlns:p14="http://schemas.microsoft.com/office/powerpoint/2010/main" val="1949493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How to get to good KPIs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457200" indent="-457200">
              <a:buAutoNum type="arabicPeriod"/>
            </a:pPr>
            <a:r>
              <a:rPr lang="en-US" dirty="0" smtClean="0"/>
              <a:t>Strategic target – don’t let metrics decide what you want</a:t>
            </a:r>
          </a:p>
          <a:p>
            <a:pPr marL="457200" indent="-457200">
              <a:buAutoNum type="arabicPeriod"/>
            </a:pPr>
            <a:r>
              <a:rPr lang="en-US" dirty="0" smtClean="0"/>
              <a:t>Measurement capability – don’t overpromise</a:t>
            </a:r>
          </a:p>
          <a:p>
            <a:pPr marL="457200" indent="-457200">
              <a:buAutoNum type="arabicPeriod"/>
            </a:pPr>
            <a:r>
              <a:rPr lang="en-US" dirty="0" err="1" smtClean="0"/>
              <a:t>Targetsetting</a:t>
            </a:r>
            <a:r>
              <a:rPr lang="en-US" dirty="0" smtClean="0"/>
              <a:t> capability – targets need to mean something</a:t>
            </a:r>
          </a:p>
          <a:p>
            <a:pPr marL="457200" indent="-457200">
              <a:buAutoNum type="arabicPeriod"/>
            </a:pPr>
            <a:r>
              <a:rPr lang="en-US" dirty="0" smtClean="0"/>
              <a:t>Define well, remember the odd possibilities</a:t>
            </a:r>
          </a:p>
          <a:p>
            <a:pPr marL="457200" indent="-457200">
              <a:buAutoNum type="arabicPeriod"/>
            </a:pPr>
            <a:r>
              <a:rPr lang="en-US" dirty="0" smtClean="0"/>
              <a:t>Keep it simple</a:t>
            </a:r>
          </a:p>
          <a:p>
            <a:pPr marL="457200" indent="-457200">
              <a:buAutoNum type="arabicPeriod"/>
            </a:pPr>
            <a:r>
              <a:rPr lang="en-US" dirty="0" smtClean="0"/>
              <a:t>Remember non-KPI targets – priorities, milestones</a:t>
            </a:r>
          </a:p>
          <a:p>
            <a:pPr marL="457200" indent="-457200">
              <a:buAutoNum type="arabicPeriod"/>
            </a:pPr>
            <a:r>
              <a:rPr lang="en-US" dirty="0" smtClean="0"/>
              <a:t>Patience &amp; memory</a:t>
            </a:r>
          </a:p>
          <a:p>
            <a:pPr marL="457200" indent="-457200">
              <a:buAutoNum type="arabicPeriod"/>
            </a:pP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24CBB682-87B2-4236-AF78-B49807E7713E}" type="datetime1">
              <a:rPr lang="fi-FI" smtClean="0"/>
              <a:t>3.5.2018</a:t>
            </a:fld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68419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24CBB682-87B2-4236-AF78-B49807E7713E}" type="datetime1">
              <a:rPr lang="fi-FI" smtClean="0"/>
              <a:t>3.5.2018</a:t>
            </a:fld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4</a:t>
            </a:fld>
            <a:endParaRPr lang="fi-FI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7087" t="14700" r="20070" b="4801"/>
          <a:stretch/>
        </p:blipFill>
        <p:spPr>
          <a:xfrm>
            <a:off x="0" y="0"/>
            <a:ext cx="9144000" cy="5684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281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3 year average </a:t>
            </a:r>
            <a:r>
              <a:rPr lang="en-US" dirty="0" smtClean="0">
                <a:sym typeface="Wingdings" panose="05000000000000000000" pitchFamily="2" charset="2"/>
              </a:rPr>
              <a:t> delay in impact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24CBB682-87B2-4236-AF78-B49807E7713E}" type="datetime1">
              <a:rPr lang="fi-FI" smtClean="0"/>
              <a:t>3.5.2018</a:t>
            </a:fld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5</a:t>
            </a:fld>
            <a:endParaRPr lang="fi-FI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9718125"/>
              </p:ext>
            </p:extLst>
          </p:nvPr>
        </p:nvGraphicFramePr>
        <p:xfrm>
          <a:off x="323528" y="1219324"/>
          <a:ext cx="8568952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4136">
                  <a:extLst>
                    <a:ext uri="{9D8B030D-6E8A-4147-A177-3AD203B41FA5}">
                      <a16:colId xmlns:a16="http://schemas.microsoft.com/office/drawing/2014/main" val="3678853634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53251740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983592845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1579008242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4214668853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135847408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80558608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2013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014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015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016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017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018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2019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46661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41536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79796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0672800"/>
                  </a:ext>
                </a:extLst>
              </a:tr>
            </a:tbl>
          </a:graphicData>
        </a:graphic>
      </p:graphicFrame>
      <p:sp>
        <p:nvSpPr>
          <p:cNvPr id="9" name="Flowchart: Terminator 8"/>
          <p:cNvSpPr/>
          <p:nvPr/>
        </p:nvSpPr>
        <p:spPr>
          <a:xfrm>
            <a:off x="467544" y="1633364"/>
            <a:ext cx="3385146" cy="288032"/>
          </a:xfrm>
          <a:prstGeom prst="flowChartTerminator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verage</a:t>
            </a:r>
            <a:endParaRPr lang="fi-FI" dirty="0">
              <a:solidFill>
                <a:schemeClr val="tx1"/>
              </a:solidFill>
            </a:endParaRPr>
          </a:p>
        </p:txBody>
      </p:sp>
      <p:sp>
        <p:nvSpPr>
          <p:cNvPr id="10" name="Flowchart: Terminator 9"/>
          <p:cNvSpPr/>
          <p:nvPr/>
        </p:nvSpPr>
        <p:spPr>
          <a:xfrm>
            <a:off x="1547664" y="2011833"/>
            <a:ext cx="3603598" cy="288032"/>
          </a:xfrm>
          <a:prstGeom prst="flowChartTerminator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verage</a:t>
            </a:r>
            <a:endParaRPr lang="fi-FI" dirty="0">
              <a:solidFill>
                <a:schemeClr val="tx1"/>
              </a:solidFill>
            </a:endParaRPr>
          </a:p>
        </p:txBody>
      </p:sp>
      <p:sp>
        <p:nvSpPr>
          <p:cNvPr id="11" name="Flowchart: Terminator 10"/>
          <p:cNvSpPr/>
          <p:nvPr/>
        </p:nvSpPr>
        <p:spPr>
          <a:xfrm>
            <a:off x="2771800" y="2390302"/>
            <a:ext cx="3600400" cy="288032"/>
          </a:xfrm>
          <a:prstGeom prst="flowChartTerminator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verage</a:t>
            </a:r>
            <a:endParaRPr lang="fi-FI" dirty="0">
              <a:solidFill>
                <a:schemeClr val="tx1"/>
              </a:solidFill>
            </a:endParaRPr>
          </a:p>
        </p:txBody>
      </p:sp>
      <p:sp>
        <p:nvSpPr>
          <p:cNvPr id="12" name="Flowchart: Preparation 11"/>
          <p:cNvSpPr/>
          <p:nvPr/>
        </p:nvSpPr>
        <p:spPr>
          <a:xfrm>
            <a:off x="5237269" y="1618737"/>
            <a:ext cx="1080120" cy="288032"/>
          </a:xfrm>
          <a:prstGeom prst="flowChartPreparation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arget</a:t>
            </a:r>
            <a:endParaRPr lang="fi-FI" dirty="0">
              <a:solidFill>
                <a:schemeClr val="tx1"/>
              </a:solidFill>
            </a:endParaRPr>
          </a:p>
        </p:txBody>
      </p:sp>
      <p:sp>
        <p:nvSpPr>
          <p:cNvPr id="13" name="Flowchart: Preparation 12"/>
          <p:cNvSpPr/>
          <p:nvPr/>
        </p:nvSpPr>
        <p:spPr>
          <a:xfrm>
            <a:off x="6481811" y="2011225"/>
            <a:ext cx="1080120" cy="288032"/>
          </a:xfrm>
          <a:prstGeom prst="flowChartPreparation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arget</a:t>
            </a:r>
            <a:endParaRPr lang="fi-FI" dirty="0">
              <a:solidFill>
                <a:schemeClr val="tx1"/>
              </a:solidFill>
            </a:endParaRPr>
          </a:p>
        </p:txBody>
      </p:sp>
      <p:sp>
        <p:nvSpPr>
          <p:cNvPr id="14" name="Flowchart: Preparation 13"/>
          <p:cNvSpPr/>
          <p:nvPr/>
        </p:nvSpPr>
        <p:spPr>
          <a:xfrm>
            <a:off x="7740352" y="2376648"/>
            <a:ext cx="1080120" cy="288032"/>
          </a:xfrm>
          <a:prstGeom prst="flowChartPreparation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Target</a:t>
            </a:r>
            <a:endParaRPr lang="fi-FI" dirty="0">
              <a:solidFill>
                <a:schemeClr val="tx1"/>
              </a:solidFill>
            </a:endParaRPr>
          </a:p>
        </p:txBody>
      </p:sp>
      <p:cxnSp>
        <p:nvCxnSpPr>
          <p:cNvPr id="16" name="Straight Arrow Connector 15"/>
          <p:cNvCxnSpPr>
            <a:stCxn id="9" idx="3"/>
            <a:endCxn id="12" idx="1"/>
          </p:cNvCxnSpPr>
          <p:nvPr/>
        </p:nvCxnSpPr>
        <p:spPr>
          <a:xfrm flipV="1">
            <a:off x="3852690" y="1762753"/>
            <a:ext cx="1384579" cy="1462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10" idx="3"/>
            <a:endCxn id="13" idx="1"/>
          </p:cNvCxnSpPr>
          <p:nvPr/>
        </p:nvCxnSpPr>
        <p:spPr>
          <a:xfrm flipV="1">
            <a:off x="5151262" y="2155241"/>
            <a:ext cx="1330549" cy="60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stCxn id="11" idx="3"/>
            <a:endCxn id="14" idx="1"/>
          </p:cNvCxnSpPr>
          <p:nvPr/>
        </p:nvCxnSpPr>
        <p:spPr>
          <a:xfrm flipV="1">
            <a:off x="6372200" y="2520664"/>
            <a:ext cx="1368152" cy="1365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1835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24CBB682-87B2-4236-AF78-B49807E7713E}" type="datetime1">
              <a:rPr lang="fi-FI" smtClean="0"/>
              <a:t>3.5.2018</a:t>
            </a:fld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6</a:t>
            </a:fld>
            <a:endParaRPr lang="fi-FI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6688" t="15000" r="20863" b="5201"/>
          <a:stretch/>
        </p:blipFill>
        <p:spPr>
          <a:xfrm>
            <a:off x="0" y="0"/>
            <a:ext cx="9028596" cy="5593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369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Feedback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468314" y="817561"/>
            <a:ext cx="5399830" cy="3336083"/>
          </a:xfrm>
        </p:spPr>
        <p:txBody>
          <a:bodyPr/>
          <a:lstStyle/>
          <a:p>
            <a:r>
              <a:rPr lang="fi-FI" sz="1200" b="0" u="sng" dirty="0" smtClean="0"/>
              <a:t>Total </a:t>
            </a:r>
            <a:r>
              <a:rPr lang="fi-FI" sz="1200" b="0" u="sng" dirty="0" err="1" smtClean="0"/>
              <a:t>score</a:t>
            </a:r>
            <a:r>
              <a:rPr lang="fi-FI" sz="1200" b="0" u="sng" dirty="0" smtClean="0"/>
              <a:t> </a:t>
            </a:r>
            <a:r>
              <a:rPr lang="fi-FI" sz="1200" b="0" u="sng" dirty="0" err="1" smtClean="0"/>
              <a:t>from</a:t>
            </a:r>
            <a:r>
              <a:rPr lang="fi-FI" sz="1200" b="0" u="sng" dirty="0" smtClean="0"/>
              <a:t> </a:t>
            </a:r>
            <a:r>
              <a:rPr lang="fi-FI" sz="1200" b="0" u="sng" dirty="0" err="1" smtClean="0"/>
              <a:t>the</a:t>
            </a:r>
            <a:r>
              <a:rPr lang="fi-FI" sz="1200" b="0" u="sng" dirty="0" smtClean="0"/>
              <a:t> </a:t>
            </a:r>
            <a:r>
              <a:rPr lang="fi-FI" sz="1200" b="0" u="sng" dirty="0" err="1" smtClean="0"/>
              <a:t>following</a:t>
            </a:r>
            <a:r>
              <a:rPr lang="fi-FI" sz="1200" b="0" u="sng" dirty="0" smtClean="0"/>
              <a:t> 13 </a:t>
            </a:r>
            <a:r>
              <a:rPr lang="fi-FI" sz="1200" b="0" u="sng" dirty="0" err="1" smtClean="0"/>
              <a:t>questions</a:t>
            </a:r>
            <a:r>
              <a:rPr lang="fi-FI" sz="1200" b="0" u="sng" dirty="0"/>
              <a:t>:</a:t>
            </a:r>
          </a:p>
          <a:p>
            <a:r>
              <a:rPr lang="fi-FI" sz="1200" b="0" dirty="0"/>
              <a:t>(1</a:t>
            </a:r>
            <a:r>
              <a:rPr lang="fi-FI" sz="1200" b="0" dirty="0" smtClean="0"/>
              <a:t>)“I </a:t>
            </a:r>
            <a:r>
              <a:rPr lang="fi-FI" sz="1200" b="0" dirty="0" err="1" smtClean="0"/>
              <a:t>feel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comfortable</a:t>
            </a:r>
            <a:r>
              <a:rPr lang="fi-FI" sz="1200" b="0" dirty="0" smtClean="0"/>
              <a:t> at my  </a:t>
            </a:r>
            <a:r>
              <a:rPr lang="fi-FI" sz="1200" b="0" dirty="0" err="1" smtClean="0"/>
              <a:t>university</a:t>
            </a:r>
            <a:r>
              <a:rPr lang="fi-FI" sz="1200" b="0" dirty="0" smtClean="0"/>
              <a:t>.”</a:t>
            </a:r>
            <a:endParaRPr lang="fi-FI" sz="1200" b="0" dirty="0"/>
          </a:p>
          <a:p>
            <a:r>
              <a:rPr lang="fi-FI" sz="1200" b="0" dirty="0"/>
              <a:t>(2</a:t>
            </a:r>
            <a:r>
              <a:rPr lang="fi-FI" sz="1200" b="0" dirty="0" smtClean="0"/>
              <a:t>)“I am </a:t>
            </a:r>
            <a:r>
              <a:rPr lang="fi-FI" sz="1200" b="0" dirty="0" err="1" smtClean="0"/>
              <a:t>satisfied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with</a:t>
            </a:r>
            <a:r>
              <a:rPr lang="fi-FI" sz="1200" b="0" dirty="0" smtClean="0"/>
              <a:t> my </a:t>
            </a:r>
            <a:r>
              <a:rPr lang="fi-FI" sz="1200" b="0" dirty="0" err="1" smtClean="0"/>
              <a:t>course</a:t>
            </a:r>
            <a:r>
              <a:rPr lang="fi-FI" sz="1200" b="0" dirty="0" smtClean="0"/>
              <a:t> of </a:t>
            </a:r>
            <a:r>
              <a:rPr lang="fi-FI" sz="1200" b="0" dirty="0" err="1" smtClean="0"/>
              <a:t>studies</a:t>
            </a:r>
            <a:r>
              <a:rPr lang="fi-FI" sz="1200" b="0" dirty="0" smtClean="0"/>
              <a:t>.”, </a:t>
            </a:r>
          </a:p>
          <a:p>
            <a:r>
              <a:rPr lang="fi-FI" sz="1200" b="0" dirty="0" smtClean="0"/>
              <a:t>(</a:t>
            </a:r>
            <a:r>
              <a:rPr lang="fi-FI" sz="1200" b="0" dirty="0"/>
              <a:t>3</a:t>
            </a:r>
            <a:r>
              <a:rPr lang="fi-FI" sz="1200" b="0" dirty="0" smtClean="0"/>
              <a:t>)“</a:t>
            </a:r>
            <a:r>
              <a:rPr lang="fi-FI" sz="1200" b="0" dirty="0" err="1" smtClean="0"/>
              <a:t>The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skills</a:t>
            </a:r>
            <a:r>
              <a:rPr lang="fi-FI" sz="1200" b="0" dirty="0" smtClean="0"/>
              <a:t> I </a:t>
            </a:r>
            <a:r>
              <a:rPr lang="fi-FI" sz="1200" b="0" dirty="0" err="1" smtClean="0"/>
              <a:t>acquired</a:t>
            </a:r>
            <a:r>
              <a:rPr lang="fi-FI" sz="1200" b="0" dirty="0" smtClean="0"/>
              <a:t> in my </a:t>
            </a:r>
            <a:r>
              <a:rPr lang="fi-FI" sz="1200" b="0" dirty="0" err="1" smtClean="0"/>
              <a:t>education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meet</a:t>
            </a:r>
            <a:r>
              <a:rPr lang="fi-FI" sz="1200" b="0" dirty="0" smtClean="0"/>
              <a:t> my </a:t>
            </a:r>
            <a:r>
              <a:rPr lang="fi-FI" sz="1200" b="0" dirty="0" err="1" smtClean="0"/>
              <a:t>expectations</a:t>
            </a:r>
            <a:r>
              <a:rPr lang="fi-FI" sz="1200" b="0" dirty="0"/>
              <a:t>.”,</a:t>
            </a:r>
          </a:p>
          <a:p>
            <a:r>
              <a:rPr lang="fi-FI" sz="1200" b="0" dirty="0"/>
              <a:t>(4</a:t>
            </a:r>
            <a:r>
              <a:rPr lang="fi-FI" sz="1200" b="0" dirty="0" smtClean="0"/>
              <a:t>)“My </a:t>
            </a:r>
            <a:r>
              <a:rPr lang="fi-FI" sz="1200" b="0" dirty="0" err="1" smtClean="0"/>
              <a:t>education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meets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the</a:t>
            </a:r>
            <a:r>
              <a:rPr lang="fi-FI" sz="1200" b="0" dirty="0" smtClean="0"/>
              <a:t> set </a:t>
            </a:r>
            <a:r>
              <a:rPr lang="fi-FI" sz="1200" b="0" dirty="0" err="1" smtClean="0"/>
              <a:t>goals</a:t>
            </a:r>
            <a:r>
              <a:rPr lang="fi-FI" sz="1200" b="0" dirty="0" smtClean="0"/>
              <a:t>.”, </a:t>
            </a:r>
          </a:p>
          <a:p>
            <a:r>
              <a:rPr lang="fi-FI" sz="1200" b="0" dirty="0" smtClean="0"/>
              <a:t>(</a:t>
            </a:r>
            <a:r>
              <a:rPr lang="fi-FI" sz="1200" b="0" dirty="0"/>
              <a:t>5</a:t>
            </a:r>
            <a:r>
              <a:rPr lang="fi-FI" sz="1200" b="0" dirty="0" smtClean="0"/>
              <a:t>)“</a:t>
            </a:r>
            <a:r>
              <a:rPr lang="fi-FI" sz="1200" b="0" dirty="0" err="1" smtClean="0"/>
              <a:t>The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teaching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was</a:t>
            </a:r>
            <a:r>
              <a:rPr lang="fi-FI" sz="1200" b="0" dirty="0" smtClean="0"/>
              <a:t> to a </a:t>
            </a:r>
            <a:r>
              <a:rPr lang="fi-FI" sz="1200" b="0" dirty="0" err="1" smtClean="0"/>
              <a:t>large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extent</a:t>
            </a:r>
            <a:r>
              <a:rPr lang="fi-FI" sz="1200" b="0" dirty="0" smtClean="0"/>
              <a:t> of </a:t>
            </a:r>
            <a:r>
              <a:rPr lang="fi-FI" sz="1200" b="0" dirty="0" err="1" smtClean="0"/>
              <a:t>good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quality</a:t>
            </a:r>
            <a:r>
              <a:rPr lang="fi-FI" sz="1200" b="0" dirty="0"/>
              <a:t>.”,</a:t>
            </a:r>
          </a:p>
          <a:p>
            <a:r>
              <a:rPr lang="fi-FI" sz="1200" b="0" dirty="0"/>
              <a:t>(6</a:t>
            </a:r>
            <a:r>
              <a:rPr lang="fi-FI" sz="1200" b="0" dirty="0" smtClean="0"/>
              <a:t>)“I am </a:t>
            </a:r>
            <a:r>
              <a:rPr lang="fi-FI" sz="1200" b="0" dirty="0" err="1" smtClean="0"/>
              <a:t>satisfied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with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the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used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teaching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methods</a:t>
            </a:r>
            <a:r>
              <a:rPr lang="fi-FI" sz="1200" b="0" dirty="0" smtClean="0"/>
              <a:t>.”, </a:t>
            </a:r>
          </a:p>
          <a:p>
            <a:r>
              <a:rPr lang="fi-FI" sz="1200" b="0" dirty="0" smtClean="0"/>
              <a:t>(</a:t>
            </a:r>
            <a:r>
              <a:rPr lang="fi-FI" sz="1200" b="0" dirty="0"/>
              <a:t>7</a:t>
            </a:r>
            <a:r>
              <a:rPr lang="fi-FI" sz="1200" b="0" dirty="0" smtClean="0"/>
              <a:t>)“</a:t>
            </a:r>
            <a:r>
              <a:rPr lang="fi-FI" sz="1200" b="0" dirty="0" err="1" smtClean="0"/>
              <a:t>There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was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sufficient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support</a:t>
            </a:r>
            <a:r>
              <a:rPr lang="fi-FI" sz="1200" b="0" dirty="0" smtClean="0"/>
              <a:t>  </a:t>
            </a:r>
            <a:r>
              <a:rPr lang="fi-FI" sz="1200" b="0" dirty="0" err="1" smtClean="0"/>
              <a:t>available</a:t>
            </a:r>
            <a:r>
              <a:rPr lang="fi-FI" sz="1200" b="0" dirty="0" smtClean="0"/>
              <a:t> for </a:t>
            </a:r>
            <a:r>
              <a:rPr lang="fi-FI" sz="1200" b="0" dirty="0" err="1" smtClean="0"/>
              <a:t>the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preparation</a:t>
            </a:r>
            <a:r>
              <a:rPr lang="fi-FI" sz="1200" b="0" dirty="0" smtClean="0"/>
              <a:t> of </a:t>
            </a:r>
            <a:r>
              <a:rPr lang="fi-FI" sz="1200" b="0" dirty="0" err="1" smtClean="0"/>
              <a:t>the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bachelor's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thesis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or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final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exam</a:t>
            </a:r>
            <a:r>
              <a:rPr lang="fi-FI" sz="1200" b="0" dirty="0"/>
              <a:t>.”,</a:t>
            </a:r>
          </a:p>
          <a:p>
            <a:r>
              <a:rPr lang="fi-FI" sz="1200" b="0" dirty="0"/>
              <a:t>(8</a:t>
            </a:r>
            <a:r>
              <a:rPr lang="fi-FI" sz="1200" b="0" dirty="0" smtClean="0"/>
              <a:t>)“</a:t>
            </a:r>
            <a:r>
              <a:rPr lang="fi-FI" sz="1200" b="0" dirty="0" err="1" smtClean="0"/>
              <a:t>There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was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sufficient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support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available</a:t>
            </a:r>
            <a:r>
              <a:rPr lang="fi-FI" sz="1200" b="0" dirty="0" smtClean="0"/>
              <a:t> for </a:t>
            </a:r>
            <a:r>
              <a:rPr lang="fi-FI" sz="1200" b="0" dirty="0" err="1" smtClean="0"/>
              <a:t>the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organisation</a:t>
            </a:r>
            <a:r>
              <a:rPr lang="fi-FI" sz="1200" b="0" dirty="0" smtClean="0"/>
              <a:t> of </a:t>
            </a:r>
            <a:r>
              <a:rPr lang="fi-FI" sz="1200" b="0" dirty="0" err="1" smtClean="0"/>
              <a:t>studies</a:t>
            </a:r>
            <a:r>
              <a:rPr lang="fi-FI" sz="1200" b="0" dirty="0"/>
              <a:t>.”,</a:t>
            </a:r>
          </a:p>
          <a:p>
            <a:r>
              <a:rPr lang="fi-FI" sz="1200" b="0" dirty="0"/>
              <a:t>(9</a:t>
            </a:r>
            <a:r>
              <a:rPr lang="fi-FI" sz="1200" b="0" dirty="0" smtClean="0"/>
              <a:t>)“How </a:t>
            </a:r>
            <a:r>
              <a:rPr lang="fi-FI" sz="1200" b="0" dirty="0" err="1" smtClean="0"/>
              <a:t>easy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or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difficult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was</a:t>
            </a:r>
            <a:r>
              <a:rPr lang="fi-FI" sz="1200" b="0" dirty="0" smtClean="0"/>
              <a:t> it to </a:t>
            </a:r>
            <a:r>
              <a:rPr lang="fi-FI" sz="1200" b="0" dirty="0" err="1" smtClean="0"/>
              <a:t>find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information</a:t>
            </a:r>
            <a:r>
              <a:rPr lang="fi-FI" sz="1200" b="0" dirty="0" smtClean="0"/>
              <a:t> and </a:t>
            </a:r>
            <a:r>
              <a:rPr lang="fi-FI" sz="1200" b="0" dirty="0" err="1" smtClean="0"/>
              <a:t>support</a:t>
            </a:r>
            <a:r>
              <a:rPr lang="fi-FI" sz="1200" b="0" dirty="0" smtClean="0"/>
              <a:t> on </a:t>
            </a:r>
            <a:r>
              <a:rPr lang="fi-FI" sz="1200" b="0" dirty="0" err="1" smtClean="0"/>
              <a:t>different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aspects</a:t>
            </a:r>
            <a:r>
              <a:rPr lang="fi-FI" sz="1200" b="0" dirty="0" smtClean="0"/>
              <a:t> of </a:t>
            </a:r>
            <a:r>
              <a:rPr lang="fi-FI" sz="1200" b="0" dirty="0" err="1" smtClean="0"/>
              <a:t>your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studies</a:t>
            </a:r>
            <a:r>
              <a:rPr lang="fi-FI" sz="1200" b="0" dirty="0"/>
              <a:t>?”,</a:t>
            </a:r>
          </a:p>
          <a:p>
            <a:r>
              <a:rPr lang="fi-FI" sz="1200" b="0" dirty="0"/>
              <a:t>(10</a:t>
            </a:r>
            <a:r>
              <a:rPr lang="fi-FI" sz="1200" b="0" dirty="0" smtClean="0"/>
              <a:t>)“If </a:t>
            </a:r>
            <a:r>
              <a:rPr lang="fi-FI" sz="1200" b="0" dirty="0" err="1" smtClean="0"/>
              <a:t>needed</a:t>
            </a:r>
            <a:r>
              <a:rPr lang="fi-FI" sz="1200" b="0" dirty="0" smtClean="0"/>
              <a:t>, I </a:t>
            </a:r>
            <a:r>
              <a:rPr lang="fi-FI" sz="1200" b="0" dirty="0" err="1" smtClean="0"/>
              <a:t>would</a:t>
            </a:r>
            <a:r>
              <a:rPr lang="fi-FI" sz="1200" b="0" dirty="0" smtClean="0"/>
              <a:t>  </a:t>
            </a:r>
            <a:r>
              <a:rPr lang="fi-FI" sz="1200" b="0" dirty="0" err="1" smtClean="0"/>
              <a:t>always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know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where</a:t>
            </a:r>
            <a:r>
              <a:rPr lang="fi-FI" sz="1200" b="0" dirty="0" smtClean="0"/>
              <a:t> to </a:t>
            </a:r>
            <a:r>
              <a:rPr lang="fi-FI" sz="1200" b="0" dirty="0" err="1" smtClean="0"/>
              <a:t>find</a:t>
            </a:r>
            <a:r>
              <a:rPr lang="fi-FI" sz="1200" b="0" dirty="0" smtClean="0"/>
              <a:t> a  person to </a:t>
            </a:r>
            <a:r>
              <a:rPr lang="fi-FI" sz="1200" b="0" dirty="0" err="1" smtClean="0"/>
              <a:t>whom</a:t>
            </a:r>
            <a:r>
              <a:rPr lang="fi-FI" sz="1200" b="0" dirty="0" smtClean="0"/>
              <a:t> I </a:t>
            </a:r>
            <a:r>
              <a:rPr lang="fi-FI" sz="1200" b="0" dirty="0" err="1" smtClean="0"/>
              <a:t>can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turn</a:t>
            </a:r>
            <a:r>
              <a:rPr lang="fi-FI" sz="1200" b="0" dirty="0" smtClean="0"/>
              <a:t> for help.”, </a:t>
            </a:r>
          </a:p>
          <a:p>
            <a:r>
              <a:rPr lang="fi-FI" sz="1200" b="0" dirty="0" smtClean="0"/>
              <a:t>(</a:t>
            </a:r>
            <a:r>
              <a:rPr lang="fi-FI" sz="1200" b="0" dirty="0"/>
              <a:t>11</a:t>
            </a:r>
            <a:r>
              <a:rPr lang="fi-FI" sz="1200" b="0" dirty="0" smtClean="0"/>
              <a:t>)“I </a:t>
            </a:r>
            <a:r>
              <a:rPr lang="fi-FI" sz="1200" b="0" dirty="0" err="1" smtClean="0"/>
              <a:t>was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satisfied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with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the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opportunities</a:t>
            </a:r>
            <a:r>
              <a:rPr lang="fi-FI" sz="1200" b="0" dirty="0" smtClean="0"/>
              <a:t>  I </a:t>
            </a:r>
            <a:r>
              <a:rPr lang="fi-FI" sz="1200" b="0" dirty="0" err="1" smtClean="0"/>
              <a:t>had</a:t>
            </a:r>
            <a:r>
              <a:rPr lang="fi-FI" sz="1200" b="0" dirty="0" smtClean="0"/>
              <a:t> to </a:t>
            </a:r>
            <a:r>
              <a:rPr lang="fi-FI" sz="1200" b="0" dirty="0" err="1" smtClean="0"/>
              <a:t>influence</a:t>
            </a:r>
            <a:r>
              <a:rPr lang="fi-FI" sz="1200" b="0" dirty="0" smtClean="0"/>
              <a:t>  and </a:t>
            </a:r>
            <a:r>
              <a:rPr lang="fi-FI" sz="1200" b="0" dirty="0" err="1" smtClean="0"/>
              <a:t>participate</a:t>
            </a:r>
            <a:r>
              <a:rPr lang="fi-FI" sz="1200" b="0" dirty="0" smtClean="0"/>
              <a:t> in  my </a:t>
            </a:r>
            <a:r>
              <a:rPr lang="fi-FI" sz="1200" b="0" dirty="0" err="1" smtClean="0"/>
              <a:t>programme</a:t>
            </a:r>
            <a:r>
              <a:rPr lang="fi-FI" sz="1200" b="0" dirty="0"/>
              <a:t>.”,</a:t>
            </a:r>
          </a:p>
          <a:p>
            <a:r>
              <a:rPr lang="fi-FI" sz="1200" b="0" dirty="0"/>
              <a:t>(12</a:t>
            </a:r>
            <a:r>
              <a:rPr lang="fi-FI" sz="1200" b="0" dirty="0" smtClean="0"/>
              <a:t>)“I </a:t>
            </a:r>
            <a:r>
              <a:rPr lang="fi-FI" sz="1200" b="0" dirty="0" err="1" smtClean="0"/>
              <a:t>was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satisfied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with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the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communication</a:t>
            </a:r>
            <a:r>
              <a:rPr lang="fi-FI" sz="1200" b="0" dirty="0" smtClean="0"/>
              <a:t> I </a:t>
            </a:r>
            <a:r>
              <a:rPr lang="fi-FI" sz="1200" b="0" dirty="0" err="1" smtClean="0"/>
              <a:t>had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with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the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teaching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staff</a:t>
            </a:r>
            <a:r>
              <a:rPr lang="fi-FI" sz="1200" b="0" dirty="0" smtClean="0"/>
              <a:t>.”, </a:t>
            </a:r>
            <a:endParaRPr lang="fi-FI" sz="1200" b="0" dirty="0"/>
          </a:p>
          <a:p>
            <a:r>
              <a:rPr lang="fi-FI" sz="1200" b="0" dirty="0"/>
              <a:t>(13</a:t>
            </a:r>
            <a:r>
              <a:rPr lang="fi-FI" sz="1200" b="0" dirty="0" smtClean="0"/>
              <a:t>)“</a:t>
            </a:r>
            <a:r>
              <a:rPr lang="fi-FI" sz="1200" b="0" dirty="0" err="1" smtClean="0"/>
              <a:t>The</a:t>
            </a:r>
            <a:r>
              <a:rPr lang="fi-FI" sz="1200" b="0" dirty="0" smtClean="0"/>
              <a:t> feedback I </a:t>
            </a:r>
            <a:r>
              <a:rPr lang="fi-FI" sz="1200" b="0" dirty="0" err="1" smtClean="0"/>
              <a:t>received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from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the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teaching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staff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has</a:t>
            </a:r>
            <a:r>
              <a:rPr lang="fi-FI" sz="1200" b="0" dirty="0" smtClean="0"/>
              <a:t> </a:t>
            </a:r>
            <a:r>
              <a:rPr lang="fi-FI" sz="1200" b="0" dirty="0" err="1" smtClean="0"/>
              <a:t>helped</a:t>
            </a:r>
            <a:r>
              <a:rPr lang="fi-FI" sz="1200" b="0" dirty="0" smtClean="0"/>
              <a:t> me </a:t>
            </a:r>
            <a:r>
              <a:rPr lang="fi-FI" sz="1200" b="0" dirty="0" err="1" smtClean="0"/>
              <a:t>with</a:t>
            </a:r>
            <a:r>
              <a:rPr lang="fi-FI" sz="1200" b="0" dirty="0" smtClean="0"/>
              <a:t> my </a:t>
            </a:r>
            <a:r>
              <a:rPr lang="fi-FI" sz="1200" b="0" dirty="0" err="1" smtClean="0"/>
              <a:t>studies</a:t>
            </a:r>
            <a:r>
              <a:rPr lang="fi-FI" sz="1200" b="0" dirty="0" smtClean="0"/>
              <a:t>.”.</a:t>
            </a:r>
            <a:endParaRPr lang="fi-FI" sz="1200" b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24CBB682-87B2-4236-AF78-B49807E7713E}" type="datetime1">
              <a:rPr lang="fi-FI" smtClean="0"/>
              <a:t>3.5.2018</a:t>
            </a:fld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7</a:t>
            </a:fld>
            <a:endParaRPr lang="fi-FI"/>
          </a:p>
        </p:txBody>
      </p:sp>
      <p:sp>
        <p:nvSpPr>
          <p:cNvPr id="6" name="TextBox 5"/>
          <p:cNvSpPr txBox="1"/>
          <p:nvPr/>
        </p:nvSpPr>
        <p:spPr>
          <a:xfrm>
            <a:off x="6012160" y="548326"/>
            <a:ext cx="2808312" cy="23698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400" u="sng" dirty="0" err="1" smtClean="0"/>
              <a:t>Calculation</a:t>
            </a:r>
            <a:r>
              <a:rPr lang="fi-FI" sz="1400" u="sng" dirty="0" smtClean="0"/>
              <a:t> of </a:t>
            </a:r>
            <a:r>
              <a:rPr lang="fi-FI" sz="1400" u="sng" dirty="0" err="1" smtClean="0"/>
              <a:t>scores</a:t>
            </a:r>
            <a:r>
              <a:rPr lang="fi-FI" sz="1400" u="sng" dirty="0"/>
              <a:t>:</a:t>
            </a:r>
          </a:p>
          <a:p>
            <a:r>
              <a:rPr lang="fi-FI" sz="1400" dirty="0" smtClean="0"/>
              <a:t>5 ‐ </a:t>
            </a:r>
            <a:r>
              <a:rPr lang="fi-FI" sz="1400" dirty="0" err="1"/>
              <a:t>Agree</a:t>
            </a:r>
            <a:r>
              <a:rPr lang="fi-FI" sz="1400" dirty="0"/>
              <a:t>/</a:t>
            </a:r>
            <a:r>
              <a:rPr lang="fi-FI" sz="1400" dirty="0" err="1"/>
              <a:t>very</a:t>
            </a:r>
            <a:r>
              <a:rPr lang="fi-FI" sz="1400" dirty="0"/>
              <a:t> </a:t>
            </a:r>
            <a:r>
              <a:rPr lang="fi-FI" sz="1400" dirty="0" err="1" smtClean="0"/>
              <a:t>easy</a:t>
            </a:r>
            <a:endParaRPr lang="fi-FI" sz="1400" dirty="0"/>
          </a:p>
          <a:p>
            <a:r>
              <a:rPr lang="fi-FI" sz="1400" dirty="0" smtClean="0"/>
              <a:t>4 ‐ </a:t>
            </a:r>
            <a:r>
              <a:rPr lang="fi-FI" sz="1400" dirty="0" err="1"/>
              <a:t>Somewhat</a:t>
            </a:r>
            <a:r>
              <a:rPr lang="fi-FI" sz="1400" dirty="0"/>
              <a:t> </a:t>
            </a:r>
            <a:r>
              <a:rPr lang="fi-FI" sz="1400" dirty="0" err="1"/>
              <a:t>agree</a:t>
            </a:r>
            <a:r>
              <a:rPr lang="fi-FI" sz="1400" dirty="0"/>
              <a:t> / </a:t>
            </a:r>
            <a:r>
              <a:rPr lang="fi-FI" sz="1400" dirty="0" err="1"/>
              <a:t>moderately</a:t>
            </a:r>
            <a:r>
              <a:rPr lang="fi-FI" sz="1400" dirty="0"/>
              <a:t> </a:t>
            </a:r>
            <a:r>
              <a:rPr lang="fi-FI" sz="1400" dirty="0" err="1" smtClean="0"/>
              <a:t>easy</a:t>
            </a:r>
            <a:endParaRPr lang="fi-FI" sz="1400" dirty="0"/>
          </a:p>
          <a:p>
            <a:r>
              <a:rPr lang="fi-FI" sz="1400" dirty="0" smtClean="0"/>
              <a:t>3 ‐ </a:t>
            </a:r>
            <a:r>
              <a:rPr lang="fi-FI" sz="1400" dirty="0" err="1"/>
              <a:t>Somewhat</a:t>
            </a:r>
            <a:r>
              <a:rPr lang="fi-FI" sz="1400" dirty="0"/>
              <a:t> </a:t>
            </a:r>
            <a:r>
              <a:rPr lang="fi-FI" sz="1400" dirty="0" err="1"/>
              <a:t>disagree</a:t>
            </a:r>
            <a:r>
              <a:rPr lang="fi-FI" sz="1400" dirty="0"/>
              <a:t> / </a:t>
            </a:r>
            <a:r>
              <a:rPr lang="fi-FI" sz="1400" dirty="0" err="1"/>
              <a:t>moderately</a:t>
            </a:r>
            <a:r>
              <a:rPr lang="fi-FI" sz="1400" dirty="0"/>
              <a:t> </a:t>
            </a:r>
            <a:r>
              <a:rPr lang="fi-FI" sz="1400" dirty="0" err="1" smtClean="0"/>
              <a:t>difficult</a:t>
            </a:r>
            <a:endParaRPr lang="fi-FI" sz="1400" dirty="0"/>
          </a:p>
          <a:p>
            <a:r>
              <a:rPr lang="fi-FI" sz="1400" dirty="0" smtClean="0"/>
              <a:t>2 ‐ </a:t>
            </a:r>
            <a:r>
              <a:rPr lang="fi-FI" sz="1400" dirty="0" err="1"/>
              <a:t>Disagree</a:t>
            </a:r>
            <a:r>
              <a:rPr lang="fi-FI" sz="1400" dirty="0"/>
              <a:t> / </a:t>
            </a:r>
            <a:r>
              <a:rPr lang="fi-FI" sz="1400" dirty="0" err="1"/>
              <a:t>very</a:t>
            </a:r>
            <a:r>
              <a:rPr lang="fi-FI" sz="1400" dirty="0"/>
              <a:t> </a:t>
            </a:r>
            <a:r>
              <a:rPr lang="fi-FI" sz="1400" dirty="0" err="1" smtClean="0"/>
              <a:t>difficult</a:t>
            </a:r>
            <a:endParaRPr lang="fi-FI" sz="1400" dirty="0"/>
          </a:p>
          <a:p>
            <a:r>
              <a:rPr lang="fi-FI" sz="1400" dirty="0" smtClean="0"/>
              <a:t>1 ‐ </a:t>
            </a:r>
            <a:r>
              <a:rPr lang="fi-FI" sz="1400" dirty="0"/>
              <a:t>I </a:t>
            </a:r>
            <a:r>
              <a:rPr lang="fi-FI" sz="1400" dirty="0" err="1"/>
              <a:t>cannot</a:t>
            </a:r>
            <a:r>
              <a:rPr lang="fi-FI" sz="1400" dirty="0"/>
              <a:t> </a:t>
            </a:r>
            <a:r>
              <a:rPr lang="fi-FI" sz="1400" dirty="0" err="1"/>
              <a:t>answer</a:t>
            </a:r>
            <a:r>
              <a:rPr lang="fi-FI" sz="1400" dirty="0"/>
              <a:t> </a:t>
            </a:r>
            <a:r>
              <a:rPr lang="fi-FI" sz="1400" dirty="0" err="1"/>
              <a:t>this</a:t>
            </a:r>
            <a:r>
              <a:rPr lang="fi-FI" sz="1400" dirty="0"/>
              <a:t> </a:t>
            </a:r>
            <a:r>
              <a:rPr lang="fi-FI" sz="1400" dirty="0" err="1"/>
              <a:t>question</a:t>
            </a:r>
            <a:r>
              <a:rPr lang="fi-FI" sz="1400" dirty="0"/>
              <a:t> / I </a:t>
            </a:r>
            <a:r>
              <a:rPr lang="fi-FI" sz="1400" dirty="0" err="1"/>
              <a:t>cannot</a:t>
            </a:r>
            <a:r>
              <a:rPr lang="fi-FI" sz="1400" dirty="0"/>
              <a:t> </a:t>
            </a:r>
            <a:r>
              <a:rPr lang="fi-FI" sz="1400" dirty="0" err="1"/>
              <a:t>assess</a:t>
            </a:r>
            <a:r>
              <a:rPr lang="fi-FI" sz="1400" dirty="0"/>
              <a:t> </a:t>
            </a:r>
            <a:r>
              <a:rPr lang="fi-FI" sz="1400" dirty="0" err="1"/>
              <a:t>this</a:t>
            </a:r>
            <a:r>
              <a:rPr lang="fi-FI" sz="1400" dirty="0"/>
              <a:t> </a:t>
            </a:r>
            <a:r>
              <a:rPr lang="fi-FI" sz="1400" dirty="0" err="1" smtClean="0"/>
              <a:t>statement</a:t>
            </a:r>
            <a:r>
              <a:rPr lang="fi-FI" sz="1400" dirty="0" smtClean="0"/>
              <a:t> /I </a:t>
            </a:r>
            <a:r>
              <a:rPr lang="fi-FI" sz="1400" dirty="0" err="1"/>
              <a:t>did</a:t>
            </a:r>
            <a:r>
              <a:rPr lang="fi-FI" sz="1400" dirty="0"/>
              <a:t> </a:t>
            </a:r>
            <a:r>
              <a:rPr lang="fi-FI" sz="1400" dirty="0" err="1"/>
              <a:t>not</a:t>
            </a:r>
            <a:r>
              <a:rPr lang="fi-FI" sz="1400" dirty="0"/>
              <a:t> </a:t>
            </a:r>
            <a:r>
              <a:rPr lang="fi-FI" sz="1400" dirty="0" err="1"/>
              <a:t>need</a:t>
            </a:r>
            <a:r>
              <a:rPr lang="fi-FI" sz="1400" dirty="0"/>
              <a:t> </a:t>
            </a:r>
            <a:r>
              <a:rPr lang="fi-FI" sz="1400" dirty="0" err="1"/>
              <a:t>support</a:t>
            </a:r>
            <a:r>
              <a:rPr lang="fi-FI" sz="1400" dirty="0"/>
              <a:t> in </a:t>
            </a:r>
            <a:r>
              <a:rPr lang="fi-FI" sz="1400" dirty="0" err="1"/>
              <a:t>this</a:t>
            </a:r>
            <a:r>
              <a:rPr lang="fi-FI" sz="1400" dirty="0"/>
              <a:t> </a:t>
            </a:r>
            <a:r>
              <a:rPr lang="fi-FI" sz="1400" dirty="0" err="1" smtClean="0"/>
              <a:t>issue</a:t>
            </a:r>
            <a:endParaRPr lang="fi-FI" sz="1400" dirty="0"/>
          </a:p>
          <a:p>
            <a:endParaRPr lang="fi-FI" sz="14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6012160" y="3002403"/>
            <a:ext cx="2808312" cy="1077218"/>
          </a:xfrm>
          <a:prstGeom prst="rect">
            <a:avLst/>
          </a:prstGeom>
          <a:solidFill>
            <a:schemeClr val="accent2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fi-FI" sz="1400" u="sng" dirty="0" err="1" smtClean="0"/>
              <a:t>Calculation</a:t>
            </a:r>
            <a:r>
              <a:rPr lang="fi-FI" sz="1400" u="sng" dirty="0" smtClean="0"/>
              <a:t> of </a:t>
            </a:r>
            <a:r>
              <a:rPr lang="fi-FI" sz="1400" u="sng" dirty="0" err="1" smtClean="0"/>
              <a:t>scores</a:t>
            </a:r>
            <a:r>
              <a:rPr lang="fi-FI" sz="1400" u="sng" dirty="0"/>
              <a:t>:</a:t>
            </a:r>
          </a:p>
          <a:p>
            <a:r>
              <a:rPr lang="fi-FI" sz="1400" dirty="0" smtClean="0"/>
              <a:t>Full </a:t>
            </a:r>
            <a:r>
              <a:rPr lang="fi-FI" sz="1400" dirty="0" err="1" smtClean="0"/>
              <a:t>marks</a:t>
            </a:r>
            <a:r>
              <a:rPr lang="fi-FI" sz="1400" dirty="0" smtClean="0"/>
              <a:t>      </a:t>
            </a:r>
            <a:r>
              <a:rPr lang="fi-FI" sz="1400" dirty="0" smtClean="0">
                <a:sym typeface="Wingdings" panose="05000000000000000000" pitchFamily="2" charset="2"/>
              </a:rPr>
              <a:t> 65 </a:t>
            </a:r>
            <a:r>
              <a:rPr lang="fi-FI" sz="1400" dirty="0" err="1" smtClean="0">
                <a:sym typeface="Wingdings" panose="05000000000000000000" pitchFamily="2" charset="2"/>
              </a:rPr>
              <a:t>pts</a:t>
            </a:r>
            <a:r>
              <a:rPr lang="fi-FI" sz="1400" dirty="0" smtClean="0">
                <a:sym typeface="Wingdings" panose="05000000000000000000" pitchFamily="2" charset="2"/>
              </a:rPr>
              <a:t> = 7 605€</a:t>
            </a:r>
          </a:p>
          <a:p>
            <a:r>
              <a:rPr lang="fi-FI" sz="1400" dirty="0" err="1" smtClean="0">
                <a:sym typeface="Wingdings" panose="05000000000000000000" pitchFamily="2" charset="2"/>
              </a:rPr>
              <a:t>Somewhat</a:t>
            </a:r>
            <a:r>
              <a:rPr lang="fi-FI" sz="1400" dirty="0" smtClean="0">
                <a:sym typeface="Wingdings" panose="05000000000000000000" pitchFamily="2" charset="2"/>
              </a:rPr>
              <a:t> ok  52 </a:t>
            </a:r>
            <a:r>
              <a:rPr lang="fi-FI" sz="1400" dirty="0" err="1" smtClean="0">
                <a:sym typeface="Wingdings" panose="05000000000000000000" pitchFamily="2" charset="2"/>
              </a:rPr>
              <a:t>pts</a:t>
            </a:r>
            <a:r>
              <a:rPr lang="fi-FI" sz="1400" dirty="0" smtClean="0">
                <a:sym typeface="Wingdings" panose="05000000000000000000" pitchFamily="2" charset="2"/>
              </a:rPr>
              <a:t> = 6 084€</a:t>
            </a:r>
          </a:p>
          <a:p>
            <a:r>
              <a:rPr lang="fi-FI" sz="1400" dirty="0" err="1" smtClean="0">
                <a:sym typeface="Wingdings" panose="05000000000000000000" pitchFamily="2" charset="2"/>
              </a:rPr>
              <a:t>All</a:t>
            </a:r>
            <a:r>
              <a:rPr lang="fi-FI" sz="1400" dirty="0" smtClean="0">
                <a:sym typeface="Wingdings" panose="05000000000000000000" pitchFamily="2" charset="2"/>
              </a:rPr>
              <a:t> </a:t>
            </a:r>
            <a:r>
              <a:rPr lang="fi-FI" sz="1400" dirty="0" err="1" smtClean="0">
                <a:sym typeface="Wingdings" panose="05000000000000000000" pitchFamily="2" charset="2"/>
              </a:rPr>
              <a:t>wrong</a:t>
            </a:r>
            <a:r>
              <a:rPr lang="fi-FI" sz="1400" dirty="0" smtClean="0">
                <a:sym typeface="Wingdings" panose="05000000000000000000" pitchFamily="2" charset="2"/>
              </a:rPr>
              <a:t>         26 </a:t>
            </a:r>
            <a:r>
              <a:rPr lang="fi-FI" sz="1400" dirty="0" err="1" smtClean="0">
                <a:sym typeface="Wingdings" panose="05000000000000000000" pitchFamily="2" charset="2"/>
              </a:rPr>
              <a:t>pts</a:t>
            </a:r>
            <a:r>
              <a:rPr lang="fi-FI" sz="1400" dirty="0" smtClean="0">
                <a:sym typeface="Wingdings" panose="05000000000000000000" pitchFamily="2" charset="2"/>
              </a:rPr>
              <a:t> = 3 042€</a:t>
            </a:r>
          </a:p>
          <a:p>
            <a:r>
              <a:rPr lang="en-US" sz="1400" dirty="0" smtClean="0">
                <a:sym typeface="Wingdings" panose="05000000000000000000" pitchFamily="2" charset="2"/>
              </a:rPr>
              <a:t>I don’t know    13 pts = 1 521€</a:t>
            </a:r>
            <a:endParaRPr lang="fi-FI" sz="1400" dirty="0"/>
          </a:p>
        </p:txBody>
      </p:sp>
    </p:spTree>
    <p:extLst>
      <p:ext uri="{BB962C8B-B14F-4D97-AF65-F5344CB8AC3E}">
        <p14:creationId xmlns:p14="http://schemas.microsoft.com/office/powerpoint/2010/main" val="3629277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24CBB682-87B2-4236-AF78-B49807E7713E}" type="datetime1">
              <a:rPr lang="fi-FI" smtClean="0"/>
              <a:t>3.5.2018</a:t>
            </a:fld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8</a:t>
            </a:fld>
            <a:endParaRPr lang="fi-FI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7475" t="15000" r="20863" b="5901"/>
          <a:stretch/>
        </p:blipFill>
        <p:spPr>
          <a:xfrm>
            <a:off x="13792" y="0"/>
            <a:ext cx="9204690" cy="571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27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9</a:t>
            </a:fld>
            <a:endParaRPr lang="fi-FI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78682" y="400253"/>
            <a:ext cx="7808118" cy="896849"/>
          </a:xfrm>
        </p:spPr>
        <p:txBody>
          <a:bodyPr anchor="ctr"/>
          <a:lstStyle/>
          <a:p>
            <a:r>
              <a:rPr lang="fi-FI" sz="2880" spc="0" dirty="0" err="1">
                <a:solidFill>
                  <a:srgbClr val="69645C"/>
                </a:solidFill>
              </a:rPr>
              <a:t>Operative</a:t>
            </a:r>
            <a:r>
              <a:rPr lang="fi-FI" sz="2880" spc="0" dirty="0">
                <a:solidFill>
                  <a:srgbClr val="69645C"/>
                </a:solidFill>
              </a:rPr>
              <a:t> </a:t>
            </a:r>
            <a:r>
              <a:rPr lang="fi-FI" sz="2880" spc="0" dirty="0" err="1">
                <a:solidFill>
                  <a:srgbClr val="69645C"/>
                </a:solidFill>
              </a:rPr>
              <a:t>Income</a:t>
            </a:r>
            <a:r>
              <a:rPr lang="fi-FI" sz="2880" spc="0" dirty="0">
                <a:solidFill>
                  <a:srgbClr val="69645C"/>
                </a:solidFill>
              </a:rPr>
              <a:t> and </a:t>
            </a:r>
            <a:r>
              <a:rPr lang="fi-FI" sz="2880" spc="0" dirty="0" err="1">
                <a:solidFill>
                  <a:srgbClr val="69645C"/>
                </a:solidFill>
              </a:rPr>
              <a:t>expenses</a:t>
            </a:r>
            <a:r>
              <a:rPr lang="fi-FI" sz="2880" spc="0" dirty="0">
                <a:solidFill>
                  <a:srgbClr val="69645C"/>
                </a:solidFill>
              </a:rPr>
              <a:t> 2010–2017</a:t>
            </a:r>
            <a:br>
              <a:rPr lang="fi-FI" sz="2880" spc="0" dirty="0">
                <a:solidFill>
                  <a:srgbClr val="69645C"/>
                </a:solidFill>
              </a:rPr>
            </a:br>
            <a:r>
              <a:rPr lang="fi-FI" sz="1620" b="0" i="1" spc="0" dirty="0">
                <a:solidFill>
                  <a:srgbClr val="69645C"/>
                </a:solidFill>
                <a:latin typeface="Georgia" charset="0"/>
                <a:ea typeface="Georgia" charset="0"/>
                <a:cs typeface="Georgia" charset="0"/>
              </a:rPr>
              <a:t>€ </a:t>
            </a:r>
            <a:r>
              <a:rPr lang="fi-FI" sz="1620" b="0" i="1" spc="0" dirty="0" err="1">
                <a:solidFill>
                  <a:srgbClr val="69645C"/>
                </a:solidFill>
                <a:latin typeface="Georgia" charset="0"/>
                <a:ea typeface="Georgia" charset="0"/>
                <a:cs typeface="Georgia" charset="0"/>
              </a:rPr>
              <a:t>million</a:t>
            </a:r>
            <a:endParaRPr lang="en-US" sz="1620" b="0" i="1" spc="0" dirty="0">
              <a:solidFill>
                <a:srgbClr val="69645C"/>
              </a:solidFill>
              <a:latin typeface="Georgia" charset="0"/>
              <a:ea typeface="Georgia" charset="0"/>
              <a:cs typeface="Georgia" charset="0"/>
            </a:endParaRPr>
          </a:p>
        </p:txBody>
      </p:sp>
      <p:pic>
        <p:nvPicPr>
          <p:cNvPr id="2" name="Kuva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681" y="1415948"/>
            <a:ext cx="7107632" cy="3226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61086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xq7.OeRGuCuaTIYfhU4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jdE851SJafq5F.WmlM4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Mq9mI2TuGFz8k49MYmB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9qmIStQQyCa6eO1x7eS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86oA57QuiCsZhfoVFQ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Vf__YxRbCxBJPjg0I_h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b_h9WTTqBV2AlZbSaG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Z1nPmARqWJ3HMxtzzwS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X128MFQ7enjJHt0pZH6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UkT7GNQ.6ECKjngrOe0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t6IJMhSiqMcWzHF6y7K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sgcqgyQxOkoNXgRDqwc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qwrdY.SXSafrGAb4aI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1ariPqQO.RaUEpbuj0c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sfoDXfTBWWyhFfaYAR3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54EGOXSZyuPWUc4UIke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Psg72cTxKg9WpoK0xED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nFfPa0QDWwhprjpZT1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dj3XH6Q16ois4rDfpM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m7C3G9T0qRAMdsG_.i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kvfBAFTAihhfp.xPSU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MdAwbMQJqQz9roirrv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wMOlOxS5KVmIJpnO3P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tRlZuiTZyEPDLDBCSt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TJFjVLRpChL7XSmg_Q3g"/>
</p:tagLst>
</file>

<file path=ppt/theme/theme1.xml><?xml version="1.0" encoding="utf-8"?>
<a:theme xmlns:a="http://schemas.openxmlformats.org/drawingml/2006/main" name="Aalto University">
  <a:themeElements>
    <a:clrScheme name="Aalto-kauppa">
      <a:dk1>
        <a:sysClr val="windowText" lastClr="000000"/>
      </a:dk1>
      <a:lt1>
        <a:sysClr val="window" lastClr="FFFFFF"/>
      </a:lt1>
      <a:dk2>
        <a:srgbClr val="78BE20"/>
      </a:dk2>
      <a:lt2>
        <a:srgbClr val="8C857B"/>
      </a:lt2>
      <a:accent1>
        <a:srgbClr val="78BE20"/>
      </a:accent1>
      <a:accent2>
        <a:srgbClr val="FFCD00"/>
      </a:accent2>
      <a:accent3>
        <a:srgbClr val="EF3340"/>
      </a:accent3>
      <a:accent4>
        <a:srgbClr val="005EB8"/>
      </a:accent4>
      <a:accent5>
        <a:srgbClr val="8C857B"/>
      </a:accent5>
      <a:accent6>
        <a:srgbClr val="00965E"/>
      </a:accent6>
      <a:hlink>
        <a:srgbClr val="000000"/>
      </a:hlink>
      <a:folHlink>
        <a:srgbClr val="928B81"/>
      </a:folHlink>
    </a:clrScheme>
    <a:fontScheme name="Aalto-yliopis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b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8" id="{ECD78E7F-3D48-4012-844A-6582CCB7ACC9}" vid="{1E3A92F0-686A-4013-A75C-489663080FE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IZ_EN</Template>
  <TotalTime>0</TotalTime>
  <Words>536</Words>
  <Application>Microsoft Office PowerPoint</Application>
  <PresentationFormat>On-screen Show (16:10)</PresentationFormat>
  <Paragraphs>120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26" baseType="lpstr">
      <vt:lpstr>ＭＳ Ｐゴシック</vt:lpstr>
      <vt:lpstr>ＭＳ Ｐゴシック</vt:lpstr>
      <vt:lpstr>Arial</vt:lpstr>
      <vt:lpstr>Calibri</vt:lpstr>
      <vt:lpstr>Courier New</vt:lpstr>
      <vt:lpstr>Georgia</vt:lpstr>
      <vt:lpstr>Lucida Grande</vt:lpstr>
      <vt:lpstr>Wingdings</vt:lpstr>
      <vt:lpstr>ヒラギノ角ゴ Pro W3</vt:lpstr>
      <vt:lpstr>Aalto University</vt:lpstr>
      <vt:lpstr>think-cell Slide</vt:lpstr>
      <vt:lpstr>Chart</vt:lpstr>
      <vt:lpstr>KPI’s in education</vt:lpstr>
      <vt:lpstr>KPI’s</vt:lpstr>
      <vt:lpstr>How to get to good KPIs</vt:lpstr>
      <vt:lpstr>PowerPoint Presentation</vt:lpstr>
      <vt:lpstr>3 year average  delay in impact</vt:lpstr>
      <vt:lpstr>PowerPoint Presentation</vt:lpstr>
      <vt:lpstr>Feedback</vt:lpstr>
      <vt:lpstr>PowerPoint Presentation</vt:lpstr>
      <vt:lpstr>Operative Income and expenses 2010–2017 € million</vt:lpstr>
      <vt:lpstr>PowerPoint Presentation</vt:lpstr>
      <vt:lpstr>Aalto funding KPI’s</vt:lpstr>
      <vt:lpstr>Funding from a good student </vt:lpstr>
      <vt:lpstr>JuFo points</vt:lpstr>
      <vt:lpstr>Ministry KPI’s evalu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05-03T15:18:13Z</dcterms:created>
  <dcterms:modified xsi:type="dcterms:W3CDTF">2018-05-03T17:57:17Z</dcterms:modified>
</cp:coreProperties>
</file>